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2.xml" ContentType="application/vnd.openxmlformats-officedocument.them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3.xml" ContentType="application/vnd.openxmlformats-officedocument.them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4.xml" ContentType="application/vnd.openxmlformats-officedocument.theme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5.xml" ContentType="application/vnd.openxmlformats-officedocument.theme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theme/theme6.xml" ContentType="application/vnd.openxmlformats-officedocument.theme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heme/theme7.xml" ContentType="application/vnd.openxmlformats-officedocument.theme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notesSlides/notesSlide1.xml" ContentType="application/vnd.openxmlformats-officedocument.presentationml.notesSlide+xml"/>
  <Override PartName="/ppt/tags/tag369.xml" ContentType="application/vnd.openxmlformats-officedocument.presentationml.tags+xml"/>
  <Override PartName="/ppt/notesSlides/notesSlide2.xml" ContentType="application/vnd.openxmlformats-officedocument.presentationml.notesSlide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notesSlides/notesSlide3.xml" ContentType="application/vnd.openxmlformats-officedocument.presentationml.notesSlide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notesSlides/notesSlide5.xml" ContentType="application/vnd.openxmlformats-officedocument.presentationml.notesSlide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93" r:id="rId5"/>
    <p:sldMasterId id="2147483726" r:id="rId6"/>
    <p:sldMasterId id="2147483760" r:id="rId7"/>
    <p:sldMasterId id="2147483791" r:id="rId8"/>
    <p:sldMasterId id="2147483826" r:id="rId9"/>
  </p:sldMasterIdLst>
  <p:notesMasterIdLst>
    <p:notesMasterId r:id="rId22"/>
  </p:notesMasterIdLst>
  <p:sldIdLst>
    <p:sldId id="12963" r:id="rId10"/>
    <p:sldId id="12964" r:id="rId11"/>
    <p:sldId id="12973" r:id="rId12"/>
    <p:sldId id="12975" r:id="rId13"/>
    <p:sldId id="12966" r:id="rId14"/>
    <p:sldId id="12971" r:id="rId15"/>
    <p:sldId id="12972" r:id="rId16"/>
    <p:sldId id="12974" r:id="rId17"/>
    <p:sldId id="12969" r:id="rId18"/>
    <p:sldId id="12968" r:id="rId19"/>
    <p:sldId id="12967" r:id="rId20"/>
    <p:sldId id="12970" r:id="rId21"/>
  </p:sldIdLst>
  <p:sldSz cx="12192000" cy="6858000"/>
  <p:notesSz cx="7010400" cy="92964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Edwin Elberg" initials="EE [2]" lastIdx="1" clrIdx="6">
    <p:extLst>
      <p:ext uri="{19B8F6BF-5375-455C-9EA6-DF929625EA0E}">
        <p15:presenceInfo xmlns:p15="http://schemas.microsoft.com/office/powerpoint/2012/main" userId="S::eelberg@vtr.cl::2878b473-4026-4bb1-9124-8fb0d9dfddb3" providerId="AD"/>
      </p:ext>
    </p:extLst>
  </p:cmAuthor>
  <p:cmAuthor id="1" name="Roberto Lara" initials="RL" lastIdx="53" clrIdx="0">
    <p:extLst>
      <p:ext uri="{19B8F6BF-5375-455C-9EA6-DF929625EA0E}">
        <p15:presenceInfo xmlns:p15="http://schemas.microsoft.com/office/powerpoint/2012/main" userId="S::rlaraz@VTR.CL::7118911f-cb3c-4d95-9067-a19bf461e3c6" providerId="AD"/>
      </p:ext>
    </p:extLst>
  </p:cmAuthor>
  <p:cmAuthor id="8" name="Felipe Bugueño" initials="FB" lastIdx="2" clrIdx="7">
    <p:extLst>
      <p:ext uri="{19B8F6BF-5375-455C-9EA6-DF929625EA0E}">
        <p15:presenceInfo xmlns:p15="http://schemas.microsoft.com/office/powerpoint/2012/main" userId="857df9a39ab492ef" providerId="Windows Live"/>
      </p:ext>
    </p:extLst>
  </p:cmAuthor>
  <p:cmAuthor id="2" name="Sergio Rolando Rodriguez Reyes" initials="SRRR" lastIdx="125" clrIdx="1">
    <p:extLst>
      <p:ext uri="{19B8F6BF-5375-455C-9EA6-DF929625EA0E}">
        <p15:presenceInfo xmlns:p15="http://schemas.microsoft.com/office/powerpoint/2012/main" userId="S::srrodriguez@VTR.CL::bc7f949a-5d89-4772-8b57-7c66ececa47e" providerId="AD"/>
      </p:ext>
    </p:extLst>
  </p:cmAuthor>
  <p:cmAuthor id="9" name="Gustavo Urzua" initials="GU" lastIdx="2" clrIdx="8">
    <p:extLst>
      <p:ext uri="{19B8F6BF-5375-455C-9EA6-DF929625EA0E}">
        <p15:presenceInfo xmlns:p15="http://schemas.microsoft.com/office/powerpoint/2012/main" userId="Gustavo Urzua" providerId="None"/>
      </p:ext>
    </p:extLst>
  </p:cmAuthor>
  <p:cmAuthor id="3" name="Gustavo Urzua" initials="GU [2]" lastIdx="23" clrIdx="2">
    <p:extLst>
      <p:ext uri="{19B8F6BF-5375-455C-9EA6-DF929625EA0E}">
        <p15:presenceInfo xmlns:p15="http://schemas.microsoft.com/office/powerpoint/2012/main" userId="S::gurzua@vtr.cl::b722d081-1d66-45e9-ae90-e84558f7ae28" providerId="AD"/>
      </p:ext>
    </p:extLst>
  </p:cmAuthor>
  <p:cmAuthor id="4" name="Gustavo" initials="G" lastIdx="8" clrIdx="3">
    <p:extLst>
      <p:ext uri="{19B8F6BF-5375-455C-9EA6-DF929625EA0E}">
        <p15:presenceInfo xmlns:p15="http://schemas.microsoft.com/office/powerpoint/2012/main" userId="Gustavo" providerId="None"/>
      </p:ext>
    </p:extLst>
  </p:cmAuthor>
  <p:cmAuthor id="5" name="Edwin Elberg" initials="EE" lastIdx="98" clrIdx="4">
    <p:extLst>
      <p:ext uri="{19B8F6BF-5375-455C-9EA6-DF929625EA0E}">
        <p15:presenceInfo xmlns:p15="http://schemas.microsoft.com/office/powerpoint/2012/main" userId="Edwin Elberg" providerId="None"/>
      </p:ext>
    </p:extLst>
  </p:cmAuthor>
  <p:cmAuthor id="6" name="Alvaro Jimenez" initials="AJ" lastIdx="6" clrIdx="5">
    <p:extLst>
      <p:ext uri="{19B8F6BF-5375-455C-9EA6-DF929625EA0E}">
        <p15:presenceInfo xmlns:p15="http://schemas.microsoft.com/office/powerpoint/2012/main" userId="S::ajimenez@vtr.cl::7a416c8d-e425-405a-8e61-c3e64e5d907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20000"/>
    <a:srgbClr val="005CB8"/>
    <a:srgbClr val="FF4138"/>
    <a:srgbClr val="FF3738"/>
    <a:srgbClr val="FF4100"/>
    <a:srgbClr val="EAC835"/>
    <a:srgbClr val="FF0000"/>
    <a:srgbClr val="50A028"/>
    <a:srgbClr val="FFFFFF"/>
    <a:srgbClr val="4D4D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F4ABA53-1783-48DF-9D5F-FFFF0F624D71}" v="1572" dt="2022-06-06T03:39:40.08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441" autoAdjust="0"/>
    <p:restoredTop sz="74026" autoAdjust="0"/>
  </p:normalViewPr>
  <p:slideViewPr>
    <p:cSldViewPr snapToGrid="0">
      <p:cViewPr varScale="1">
        <p:scale>
          <a:sx n="53" d="100"/>
          <a:sy n="53" d="100"/>
        </p:scale>
        <p:origin x="139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Relationship Id="rId3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ergio Rolando Rodriguez Reyes" userId="bc7f949a-5d89-4772-8b57-7c66ececa47e" providerId="ADAL" clId="{4DD89593-9D8C-494D-A0EC-13F1365AA728}"/>
    <pc:docChg chg="custSel addSld delSld modSld sldOrd replTag">
      <pc:chgData name="Sergio Rolando Rodriguez Reyes" userId="bc7f949a-5d89-4772-8b57-7c66ececa47e" providerId="ADAL" clId="{4DD89593-9D8C-494D-A0EC-13F1365AA728}" dt="2022-01-25T16:22:43.601" v="1067" actId="20577"/>
      <pc:docMkLst>
        <pc:docMk/>
      </pc:docMkLst>
      <pc:sldChg chg="modSp mod">
        <pc:chgData name="Sergio Rolando Rodriguez Reyes" userId="bc7f949a-5d89-4772-8b57-7c66ececa47e" providerId="ADAL" clId="{4DD89593-9D8C-494D-A0EC-13F1365AA728}" dt="2022-01-25T16:22:43.601" v="1067" actId="20577"/>
        <pc:sldMkLst>
          <pc:docMk/>
          <pc:sldMk cId="1522296745" sldId="12959"/>
        </pc:sldMkLst>
        <pc:spChg chg="mod">
          <ac:chgData name="Sergio Rolando Rodriguez Reyes" userId="bc7f949a-5d89-4772-8b57-7c66ececa47e" providerId="ADAL" clId="{4DD89593-9D8C-494D-A0EC-13F1365AA728}" dt="2022-01-25T16:22:27.636" v="1042" actId="1076"/>
          <ac:spMkLst>
            <pc:docMk/>
            <pc:sldMk cId="1522296745" sldId="12959"/>
            <ac:spMk id="42" creationId="{4ECBD241-B3AF-41CC-B879-87F67C1623C3}"/>
          </ac:spMkLst>
        </pc:spChg>
        <pc:spChg chg="mod">
          <ac:chgData name="Sergio Rolando Rodriguez Reyes" userId="bc7f949a-5d89-4772-8b57-7c66ececa47e" providerId="ADAL" clId="{4DD89593-9D8C-494D-A0EC-13F1365AA728}" dt="2022-01-25T16:22:43.601" v="1067" actId="20577"/>
          <ac:spMkLst>
            <pc:docMk/>
            <pc:sldMk cId="1522296745" sldId="12959"/>
            <ac:spMk id="102" creationId="{E5F888AD-2A5E-4BCF-B596-738AC37C4577}"/>
          </ac:spMkLst>
        </pc:spChg>
        <pc:picChg chg="mod">
          <ac:chgData name="Sergio Rolando Rodriguez Reyes" userId="bc7f949a-5d89-4772-8b57-7c66ececa47e" providerId="ADAL" clId="{4DD89593-9D8C-494D-A0EC-13F1365AA728}" dt="2022-01-25T16:22:27.636" v="1042" actId="1076"/>
          <ac:picMkLst>
            <pc:docMk/>
            <pc:sldMk cId="1522296745" sldId="12959"/>
            <ac:picMk id="9" creationId="{6597CE34-7159-4453-9710-7B92E775309F}"/>
          </ac:picMkLst>
        </pc:picChg>
        <pc:picChg chg="mod">
          <ac:chgData name="Sergio Rolando Rodriguez Reyes" userId="bc7f949a-5d89-4772-8b57-7c66ececa47e" providerId="ADAL" clId="{4DD89593-9D8C-494D-A0EC-13F1365AA728}" dt="2022-01-25T16:22:22.607" v="1041" actId="1076"/>
          <ac:picMkLst>
            <pc:docMk/>
            <pc:sldMk cId="1522296745" sldId="12959"/>
            <ac:picMk id="10" creationId="{5ACCB576-6801-4D5E-AFE8-6B591423304D}"/>
          </ac:picMkLst>
        </pc:picChg>
        <pc:picChg chg="mod">
          <ac:chgData name="Sergio Rolando Rodriguez Reyes" userId="bc7f949a-5d89-4772-8b57-7c66ececa47e" providerId="ADAL" clId="{4DD89593-9D8C-494D-A0EC-13F1365AA728}" dt="2022-01-25T16:22:27.636" v="1042" actId="1076"/>
          <ac:picMkLst>
            <pc:docMk/>
            <pc:sldMk cId="1522296745" sldId="12959"/>
            <ac:picMk id="43" creationId="{9AFE833D-E9A5-43B6-B93E-586619A516F4}"/>
          </ac:picMkLst>
        </pc:picChg>
      </pc:sldChg>
      <pc:sldChg chg="del">
        <pc:chgData name="Sergio Rolando Rodriguez Reyes" userId="bc7f949a-5d89-4772-8b57-7c66ececa47e" providerId="ADAL" clId="{4DD89593-9D8C-494D-A0EC-13F1365AA728}" dt="2022-01-12T13:38:27.168" v="934" actId="47"/>
        <pc:sldMkLst>
          <pc:docMk/>
          <pc:sldMk cId="1457265172" sldId="12960"/>
        </pc:sldMkLst>
      </pc:sldChg>
      <pc:sldChg chg="mod modTransition modShow">
        <pc:chgData name="Sergio Rolando Rodriguez Reyes" userId="bc7f949a-5d89-4772-8b57-7c66ececa47e" providerId="ADAL" clId="{4DD89593-9D8C-494D-A0EC-13F1365AA728}" dt="2022-01-12T12:59:51.886" v="933"/>
        <pc:sldMkLst>
          <pc:docMk/>
          <pc:sldMk cId="3787842541" sldId="2145705419"/>
        </pc:sldMkLst>
      </pc:sldChg>
      <pc:sldChg chg="addSp delSp modSp new add mod ord">
        <pc:chgData name="Sergio Rolando Rodriguez Reyes" userId="bc7f949a-5d89-4772-8b57-7c66ececa47e" providerId="ADAL" clId="{4DD89593-9D8C-494D-A0EC-13F1365AA728}" dt="2022-01-12T12:59:15.033" v="931" actId="20577"/>
        <pc:sldMkLst>
          <pc:docMk/>
          <pc:sldMk cId="519337687" sldId="2145705420"/>
        </pc:sldMkLst>
        <pc:spChg chg="del">
          <ac:chgData name="Sergio Rolando Rodriguez Reyes" userId="bc7f949a-5d89-4772-8b57-7c66ececa47e" providerId="ADAL" clId="{4DD89593-9D8C-494D-A0EC-13F1365AA728}" dt="2022-01-12T12:54:39.288" v="16" actId="478"/>
          <ac:spMkLst>
            <pc:docMk/>
            <pc:sldMk cId="519337687" sldId="2145705420"/>
            <ac:spMk id="2" creationId="{C4891AEF-1CE2-42FD-ABB3-976B5DB15E75}"/>
          </ac:spMkLst>
        </pc:spChg>
        <pc:spChg chg="del">
          <ac:chgData name="Sergio Rolando Rodriguez Reyes" userId="bc7f949a-5d89-4772-8b57-7c66ececa47e" providerId="ADAL" clId="{4DD89593-9D8C-494D-A0EC-13F1365AA728}" dt="2022-01-12T12:54:32.527" v="12" actId="478"/>
          <ac:spMkLst>
            <pc:docMk/>
            <pc:sldMk cId="519337687" sldId="2145705420"/>
            <ac:spMk id="3" creationId="{BB970E2B-72AC-4FDE-B718-43C4B45B686D}"/>
          </ac:spMkLst>
        </pc:spChg>
        <pc:spChg chg="del">
          <ac:chgData name="Sergio Rolando Rodriguez Reyes" userId="bc7f949a-5d89-4772-8b57-7c66ececa47e" providerId="ADAL" clId="{4DD89593-9D8C-494D-A0EC-13F1365AA728}" dt="2022-01-12T12:54:45.247" v="34" actId="478"/>
          <ac:spMkLst>
            <pc:docMk/>
            <pc:sldMk cId="519337687" sldId="2145705420"/>
            <ac:spMk id="6" creationId="{3867DD05-9349-4E66-8D2A-942FD9B3AA59}"/>
          </ac:spMkLst>
        </pc:spChg>
        <pc:spChg chg="add mod">
          <ac:chgData name="Sergio Rolando Rodriguez Reyes" userId="bc7f949a-5d89-4772-8b57-7c66ececa47e" providerId="ADAL" clId="{4DD89593-9D8C-494D-A0EC-13F1365AA728}" dt="2022-01-12T12:59:15.033" v="931" actId="20577"/>
          <ac:spMkLst>
            <pc:docMk/>
            <pc:sldMk cId="519337687" sldId="2145705420"/>
            <ac:spMk id="10" creationId="{517586C0-C426-4A06-AF76-398F4EF9DAED}"/>
          </ac:spMkLst>
        </pc:spChg>
        <pc:graphicFrameChg chg="add mod ord modVis replST">
          <ac:chgData name="Sergio Rolando Rodriguez Reyes" userId="bc7f949a-5d89-4772-8b57-7c66ececa47e" providerId="ADAL" clId="{4DD89593-9D8C-494D-A0EC-13F1365AA728}" dt="2022-01-12T12:54:40.138" v="33"/>
          <ac:graphicFrameMkLst>
            <pc:docMk/>
            <pc:sldMk cId="519337687" sldId="2145705420"/>
            <ac:graphicFrameMk id="9" creationId="{DF5535DD-1551-4C24-865E-4AD6088E9A54}"/>
          </ac:graphicFrameMkLst>
        </pc:graphicFrameChg>
        <pc:picChg chg="add mod">
          <ac:chgData name="Sergio Rolando Rodriguez Reyes" userId="bc7f949a-5d89-4772-8b57-7c66ececa47e" providerId="ADAL" clId="{4DD89593-9D8C-494D-A0EC-13F1365AA728}" dt="2022-01-12T12:55:56.014" v="38" actId="1076"/>
          <ac:picMkLst>
            <pc:docMk/>
            <pc:sldMk cId="519337687" sldId="2145705420"/>
            <ac:picMk id="8" creationId="{B83C3E93-3ECE-41EC-9FBD-0CA3FF0526A0}"/>
          </ac:picMkLst>
        </pc:picChg>
      </pc:sldChg>
      <pc:sldChg chg="delSp new add del mod">
        <pc:chgData name="Sergio Rolando Rodriguez Reyes" userId="bc7f949a-5d89-4772-8b57-7c66ececa47e" providerId="ADAL" clId="{4DD89593-9D8C-494D-A0EC-13F1365AA728}" dt="2022-01-12T12:52:02.112" v="4" actId="47"/>
        <pc:sldMkLst>
          <pc:docMk/>
          <pc:sldMk cId="3325925986" sldId="2145705420"/>
        </pc:sldMkLst>
        <pc:spChg chg="del">
          <ac:chgData name="Sergio Rolando Rodriguez Reyes" userId="bc7f949a-5d89-4772-8b57-7c66ececa47e" providerId="ADAL" clId="{4DD89593-9D8C-494D-A0EC-13F1365AA728}" dt="2022-01-12T12:51:59.584" v="3" actId="478"/>
          <ac:spMkLst>
            <pc:docMk/>
            <pc:sldMk cId="3325925986" sldId="2145705420"/>
            <ac:spMk id="2" creationId="{A4632D81-652E-4A1B-91A1-3A991BC9B9A8}"/>
          </ac:spMkLst>
        </pc:spChg>
      </pc:sldChg>
      <pc:sldChg chg="new add del">
        <pc:chgData name="Sergio Rolando Rodriguez Reyes" userId="bc7f949a-5d89-4772-8b57-7c66ececa47e" providerId="ADAL" clId="{4DD89593-9D8C-494D-A0EC-13F1365AA728}" dt="2022-01-12T12:54:25.553" v="7" actId="47"/>
        <pc:sldMkLst>
          <pc:docMk/>
          <pc:sldMk cId="3879833706" sldId="2145705420"/>
        </pc:sldMkLst>
      </pc:sldChg>
      <pc:sldChg chg="addSp delSp modSp new add mod">
        <pc:chgData name="Sergio Rolando Rodriguez Reyes" userId="bc7f949a-5d89-4772-8b57-7c66ececa47e" providerId="ADAL" clId="{4DD89593-9D8C-494D-A0EC-13F1365AA728}" dt="2022-01-12T12:58:22.810" v="883"/>
        <pc:sldMkLst>
          <pc:docMk/>
          <pc:sldMk cId="79718598" sldId="2145705421"/>
        </pc:sldMkLst>
        <pc:spChg chg="mod ord">
          <ac:chgData name="Sergio Rolando Rodriguez Reyes" userId="bc7f949a-5d89-4772-8b57-7c66ececa47e" providerId="ADAL" clId="{4DD89593-9D8C-494D-A0EC-13F1365AA728}" dt="2022-01-12T12:58:22.697" v="826" actId="948"/>
          <ac:spMkLst>
            <pc:docMk/>
            <pc:sldMk cId="79718598" sldId="2145705421"/>
            <ac:spMk id="2" creationId="{F7BEFEF7-D276-4641-AB53-BF3A0CE78842}"/>
          </ac:spMkLst>
        </pc:spChg>
        <pc:spChg chg="del">
          <ac:chgData name="Sergio Rolando Rodriguez Reyes" userId="bc7f949a-5d89-4772-8b57-7c66ececa47e" providerId="ADAL" clId="{4DD89593-9D8C-494D-A0EC-13F1365AA728}" dt="2022-01-12T12:57:34.352" v="41" actId="478"/>
          <ac:spMkLst>
            <pc:docMk/>
            <pc:sldMk cId="79718598" sldId="2145705421"/>
            <ac:spMk id="3" creationId="{405E44A5-521A-42C5-AED0-0528C2296EDA}"/>
          </ac:spMkLst>
        </pc:spChg>
        <pc:spChg chg="mod ord">
          <ac:chgData name="Sergio Rolando Rodriguez Reyes" userId="bc7f949a-5d89-4772-8b57-7c66ececa47e" providerId="ADAL" clId="{4DD89593-9D8C-494D-A0EC-13F1365AA728}" dt="2022-01-12T12:57:45.505" v="460"/>
          <ac:spMkLst>
            <pc:docMk/>
            <pc:sldMk cId="79718598" sldId="2145705421"/>
            <ac:spMk id="4" creationId="{D4EED4D7-2C09-400D-8F99-441EF362B5E8}"/>
          </ac:spMkLst>
        </pc:spChg>
        <pc:spChg chg="mod ord">
          <ac:chgData name="Sergio Rolando Rodriguez Reyes" userId="bc7f949a-5d89-4772-8b57-7c66ececa47e" providerId="ADAL" clId="{4DD89593-9D8C-494D-A0EC-13F1365AA728}" dt="2022-01-12T12:57:45.506" v="462"/>
          <ac:spMkLst>
            <pc:docMk/>
            <pc:sldMk cId="79718598" sldId="2145705421"/>
            <ac:spMk id="5" creationId="{28B36DB1-1CBC-4530-B454-FCDA4F66CEB0}"/>
          </ac:spMkLst>
        </pc:spChg>
        <pc:spChg chg="del mod ord">
          <ac:chgData name="Sergio Rolando Rodriguez Reyes" userId="bc7f949a-5d89-4772-8b57-7c66ececa47e" providerId="ADAL" clId="{4DD89593-9D8C-494D-A0EC-13F1365AA728}" dt="2022-01-12T12:57:48.691" v="527" actId="478"/>
          <ac:spMkLst>
            <pc:docMk/>
            <pc:sldMk cId="79718598" sldId="2145705421"/>
            <ac:spMk id="6" creationId="{ABE9B759-76CB-4EC5-919D-5B8713966CF3}"/>
          </ac:spMkLst>
        </pc:spChg>
        <pc:spChg chg="add del mod ord">
          <ac:chgData name="Sergio Rolando Rodriguez Reyes" userId="bc7f949a-5d89-4772-8b57-7c66ececa47e" providerId="ADAL" clId="{4DD89593-9D8C-494D-A0EC-13F1365AA728}" dt="2022-01-12T12:57:52.456" v="530" actId="478"/>
          <ac:spMkLst>
            <pc:docMk/>
            <pc:sldMk cId="79718598" sldId="2145705421"/>
            <ac:spMk id="7" creationId="{A7505E88-132F-4BBE-B6D9-E7770B5E9F90}"/>
          </ac:spMkLst>
        </pc:spChg>
        <pc:spChg chg="add del mod ord">
          <ac:chgData name="Sergio Rolando Rodriguez Reyes" userId="bc7f949a-5d89-4772-8b57-7c66ececa47e" providerId="ADAL" clId="{4DD89593-9D8C-494D-A0EC-13F1365AA728}" dt="2022-01-12T12:57:50.817" v="528" actId="478"/>
          <ac:spMkLst>
            <pc:docMk/>
            <pc:sldMk cId="79718598" sldId="2145705421"/>
            <ac:spMk id="8" creationId="{908AFFC8-0DB9-4B92-BC4F-0BA24C7FA80F}"/>
          </ac:spMkLst>
        </pc:spChg>
        <pc:spChg chg="add mod ord">
          <ac:chgData name="Sergio Rolando Rodriguez Reyes" userId="bc7f949a-5d89-4772-8b57-7c66ececa47e" providerId="ADAL" clId="{4DD89593-9D8C-494D-A0EC-13F1365AA728}" dt="2022-01-12T12:57:45.512" v="470"/>
          <ac:spMkLst>
            <pc:docMk/>
            <pc:sldMk cId="79718598" sldId="2145705421"/>
            <ac:spMk id="9" creationId="{23D8BB00-12B6-4249-8070-0B7084DF5390}"/>
          </ac:spMkLst>
        </pc:spChg>
        <pc:spChg chg="add mod ord">
          <ac:chgData name="Sergio Rolando Rodriguez Reyes" userId="bc7f949a-5d89-4772-8b57-7c66ececa47e" providerId="ADAL" clId="{4DD89593-9D8C-494D-A0EC-13F1365AA728}" dt="2022-01-12T12:57:45.513" v="472"/>
          <ac:spMkLst>
            <pc:docMk/>
            <pc:sldMk cId="79718598" sldId="2145705421"/>
            <ac:spMk id="10" creationId="{817B3E23-EED4-4F8D-BE5D-03E640704982}"/>
          </ac:spMkLst>
        </pc:spChg>
        <pc:spChg chg="add mod replST">
          <ac:chgData name="Sergio Rolando Rodriguez Reyes" userId="bc7f949a-5d89-4772-8b57-7c66ececa47e" providerId="ADAL" clId="{4DD89593-9D8C-494D-A0EC-13F1365AA728}" dt="2022-01-12T12:57:45.515" v="474"/>
          <ac:spMkLst>
            <pc:docMk/>
            <pc:sldMk cId="79718598" sldId="2145705421"/>
            <ac:spMk id="12" creationId="{E626B142-0310-4B66-AB15-0B2BFA3C3A78}"/>
          </ac:spMkLst>
        </pc:spChg>
        <pc:spChg chg="add mod replST">
          <ac:chgData name="Sergio Rolando Rodriguez Reyes" userId="bc7f949a-5d89-4772-8b57-7c66ececa47e" providerId="ADAL" clId="{4DD89593-9D8C-494D-A0EC-13F1365AA728}" dt="2022-01-12T12:57:45.523" v="484"/>
          <ac:spMkLst>
            <pc:docMk/>
            <pc:sldMk cId="79718598" sldId="2145705421"/>
            <ac:spMk id="14" creationId="{CEC66087-BCC6-4EE0-AC9D-4C20CE5B7251}"/>
          </ac:spMkLst>
        </pc:spChg>
        <pc:spChg chg="add mod replST">
          <ac:chgData name="Sergio Rolando Rodriguez Reyes" userId="bc7f949a-5d89-4772-8b57-7c66ececa47e" providerId="ADAL" clId="{4DD89593-9D8C-494D-A0EC-13F1365AA728}" dt="2022-01-12T12:57:45.519" v="479"/>
          <ac:spMkLst>
            <pc:docMk/>
            <pc:sldMk cId="79718598" sldId="2145705421"/>
            <ac:spMk id="15" creationId="{D900F637-9A28-4D85-BC08-A948A30EFD5A}"/>
          </ac:spMkLst>
        </pc:spChg>
        <pc:spChg chg="add mod replST">
          <ac:chgData name="Sergio Rolando Rodriguez Reyes" userId="bc7f949a-5d89-4772-8b57-7c66ececa47e" providerId="ADAL" clId="{4DD89593-9D8C-494D-A0EC-13F1365AA728}" dt="2022-01-12T12:57:45.536" v="497"/>
          <ac:spMkLst>
            <pc:docMk/>
            <pc:sldMk cId="79718598" sldId="2145705421"/>
            <ac:spMk id="16" creationId="{9EB0999B-C082-468D-BD1F-B0CD29811137}"/>
          </ac:spMkLst>
        </pc:spChg>
        <pc:spChg chg="add mod replST">
          <ac:chgData name="Sergio Rolando Rodriguez Reyes" userId="bc7f949a-5d89-4772-8b57-7c66ececa47e" providerId="ADAL" clId="{4DD89593-9D8C-494D-A0EC-13F1365AA728}" dt="2022-01-12T12:57:45.521" v="481"/>
          <ac:spMkLst>
            <pc:docMk/>
            <pc:sldMk cId="79718598" sldId="2145705421"/>
            <ac:spMk id="17" creationId="{A225E5F1-A82A-441B-A401-367145BEF7B1}"/>
          </ac:spMkLst>
        </pc:spChg>
        <pc:spChg chg="add mod replST">
          <ac:chgData name="Sergio Rolando Rodriguez Reyes" userId="bc7f949a-5d89-4772-8b57-7c66ececa47e" providerId="ADAL" clId="{4DD89593-9D8C-494D-A0EC-13F1365AA728}" dt="2022-01-12T12:57:45.525" v="486"/>
          <ac:spMkLst>
            <pc:docMk/>
            <pc:sldMk cId="79718598" sldId="2145705421"/>
            <ac:spMk id="18" creationId="{4E588FAB-0FBF-45DD-BC8F-0BFF0532FBCC}"/>
          </ac:spMkLst>
        </pc:spChg>
        <pc:spChg chg="add mod replST">
          <ac:chgData name="Sergio Rolando Rodriguez Reyes" userId="bc7f949a-5d89-4772-8b57-7c66ececa47e" providerId="ADAL" clId="{4DD89593-9D8C-494D-A0EC-13F1365AA728}" dt="2022-01-12T12:57:45.526" v="487"/>
          <ac:spMkLst>
            <pc:docMk/>
            <pc:sldMk cId="79718598" sldId="2145705421"/>
            <ac:spMk id="19" creationId="{E643FD69-2236-42A8-AC84-53C2C5B0909E}"/>
          </ac:spMkLst>
        </pc:spChg>
        <pc:spChg chg="add mod replST">
          <ac:chgData name="Sergio Rolando Rodriguez Reyes" userId="bc7f949a-5d89-4772-8b57-7c66ececa47e" providerId="ADAL" clId="{4DD89593-9D8C-494D-A0EC-13F1365AA728}" dt="2022-01-12T12:57:45.520" v="480"/>
          <ac:spMkLst>
            <pc:docMk/>
            <pc:sldMk cId="79718598" sldId="2145705421"/>
            <ac:spMk id="20" creationId="{0718EBB4-D345-40BC-907B-6C4A398E7612}"/>
          </ac:spMkLst>
        </pc:spChg>
        <pc:spChg chg="add mod replST">
          <ac:chgData name="Sergio Rolando Rodriguez Reyes" userId="bc7f949a-5d89-4772-8b57-7c66ececa47e" providerId="ADAL" clId="{4DD89593-9D8C-494D-A0EC-13F1365AA728}" dt="2022-01-12T12:57:45.518" v="478"/>
          <ac:spMkLst>
            <pc:docMk/>
            <pc:sldMk cId="79718598" sldId="2145705421"/>
            <ac:spMk id="21" creationId="{164A60A2-08A2-456A-BDC2-E3D4AC819D37}"/>
          </ac:spMkLst>
        </pc:spChg>
        <pc:spChg chg="add mod replST">
          <ac:chgData name="Sergio Rolando Rodriguez Reyes" userId="bc7f949a-5d89-4772-8b57-7c66ececa47e" providerId="ADAL" clId="{4DD89593-9D8C-494D-A0EC-13F1365AA728}" dt="2022-01-12T12:57:45.522" v="482"/>
          <ac:spMkLst>
            <pc:docMk/>
            <pc:sldMk cId="79718598" sldId="2145705421"/>
            <ac:spMk id="22" creationId="{D5A08634-AB86-4B5B-8ADD-3179AF49A065}"/>
          </ac:spMkLst>
        </pc:spChg>
        <pc:spChg chg="add mod replST">
          <ac:chgData name="Sergio Rolando Rodriguez Reyes" userId="bc7f949a-5d89-4772-8b57-7c66ececa47e" providerId="ADAL" clId="{4DD89593-9D8C-494D-A0EC-13F1365AA728}" dt="2022-01-12T12:57:45.523" v="483"/>
          <ac:spMkLst>
            <pc:docMk/>
            <pc:sldMk cId="79718598" sldId="2145705421"/>
            <ac:spMk id="23" creationId="{A924F359-4A0B-4BCD-99EB-F09B9BC3FE00}"/>
          </ac:spMkLst>
        </pc:spChg>
        <pc:spChg chg="add mod replST">
          <ac:chgData name="Sergio Rolando Rodriguez Reyes" userId="bc7f949a-5d89-4772-8b57-7c66ececa47e" providerId="ADAL" clId="{4DD89593-9D8C-494D-A0EC-13F1365AA728}" dt="2022-01-12T12:57:45.527" v="488"/>
          <ac:spMkLst>
            <pc:docMk/>
            <pc:sldMk cId="79718598" sldId="2145705421"/>
            <ac:spMk id="24" creationId="{5FDFDF2A-2DA4-41BA-A5C5-104E34546508}"/>
          </ac:spMkLst>
        </pc:spChg>
        <pc:spChg chg="add mod replST">
          <ac:chgData name="Sergio Rolando Rodriguez Reyes" userId="bc7f949a-5d89-4772-8b57-7c66ececa47e" providerId="ADAL" clId="{4DD89593-9D8C-494D-A0EC-13F1365AA728}" dt="2022-01-12T12:57:45.528" v="489"/>
          <ac:spMkLst>
            <pc:docMk/>
            <pc:sldMk cId="79718598" sldId="2145705421"/>
            <ac:spMk id="25" creationId="{504BA65C-24DC-4694-A543-FB5454F69095}"/>
          </ac:spMkLst>
        </pc:spChg>
        <pc:spChg chg="add mod replST">
          <ac:chgData name="Sergio Rolando Rodriguez Reyes" userId="bc7f949a-5d89-4772-8b57-7c66ececa47e" providerId="ADAL" clId="{4DD89593-9D8C-494D-A0EC-13F1365AA728}" dt="2022-01-12T12:57:45.529" v="490"/>
          <ac:spMkLst>
            <pc:docMk/>
            <pc:sldMk cId="79718598" sldId="2145705421"/>
            <ac:spMk id="26" creationId="{E86AB1A3-F1A3-473E-9123-FB12416AC0FF}"/>
          </ac:spMkLst>
        </pc:spChg>
        <pc:spChg chg="add mod replST">
          <ac:chgData name="Sergio Rolando Rodriguez Reyes" userId="bc7f949a-5d89-4772-8b57-7c66ececa47e" providerId="ADAL" clId="{4DD89593-9D8C-494D-A0EC-13F1365AA728}" dt="2022-01-12T12:57:45.537" v="498"/>
          <ac:spMkLst>
            <pc:docMk/>
            <pc:sldMk cId="79718598" sldId="2145705421"/>
            <ac:spMk id="27" creationId="{7D003320-9223-4D40-903C-DE6FADB94682}"/>
          </ac:spMkLst>
        </pc:spChg>
        <pc:spChg chg="add mod replST">
          <ac:chgData name="Sergio Rolando Rodriguez Reyes" userId="bc7f949a-5d89-4772-8b57-7c66ececa47e" providerId="ADAL" clId="{4DD89593-9D8C-494D-A0EC-13F1365AA728}" dt="2022-01-12T12:57:45.530" v="491"/>
          <ac:spMkLst>
            <pc:docMk/>
            <pc:sldMk cId="79718598" sldId="2145705421"/>
            <ac:spMk id="28" creationId="{6388B9B3-A639-47A1-85EF-0BA0C569F582}"/>
          </ac:spMkLst>
        </pc:spChg>
        <pc:spChg chg="add mod replST">
          <ac:chgData name="Sergio Rolando Rodriguez Reyes" userId="bc7f949a-5d89-4772-8b57-7c66ececa47e" providerId="ADAL" clId="{4DD89593-9D8C-494D-A0EC-13F1365AA728}" dt="2022-01-12T12:57:45.524" v="485"/>
          <ac:spMkLst>
            <pc:docMk/>
            <pc:sldMk cId="79718598" sldId="2145705421"/>
            <ac:spMk id="29" creationId="{D8CD16E3-647F-4228-9FC4-687191968176}"/>
          </ac:spMkLst>
        </pc:spChg>
        <pc:spChg chg="add mod replST">
          <ac:chgData name="Sergio Rolando Rodriguez Reyes" userId="bc7f949a-5d89-4772-8b57-7c66ececa47e" providerId="ADAL" clId="{4DD89593-9D8C-494D-A0EC-13F1365AA728}" dt="2022-01-12T12:57:45.532" v="493"/>
          <ac:spMkLst>
            <pc:docMk/>
            <pc:sldMk cId="79718598" sldId="2145705421"/>
            <ac:spMk id="30" creationId="{B3165EEC-0E17-45C0-B03F-F1B9AE72DB5E}"/>
          </ac:spMkLst>
        </pc:spChg>
        <pc:spChg chg="add mod replST">
          <ac:chgData name="Sergio Rolando Rodriguez Reyes" userId="bc7f949a-5d89-4772-8b57-7c66ececa47e" providerId="ADAL" clId="{4DD89593-9D8C-494D-A0EC-13F1365AA728}" dt="2022-01-12T12:57:45.531" v="492"/>
          <ac:spMkLst>
            <pc:docMk/>
            <pc:sldMk cId="79718598" sldId="2145705421"/>
            <ac:spMk id="31" creationId="{58E72209-414C-4934-B42F-7656CF24D6E4}"/>
          </ac:spMkLst>
        </pc:spChg>
        <pc:spChg chg="add mod replST">
          <ac:chgData name="Sergio Rolando Rodriguez Reyes" userId="bc7f949a-5d89-4772-8b57-7c66ececa47e" providerId="ADAL" clId="{4DD89593-9D8C-494D-A0EC-13F1365AA728}" dt="2022-01-12T12:57:45.518" v="477"/>
          <ac:spMkLst>
            <pc:docMk/>
            <pc:sldMk cId="79718598" sldId="2145705421"/>
            <ac:spMk id="32" creationId="{FADCAE94-D2E6-40C2-AC60-814DE6129E9C}"/>
          </ac:spMkLst>
        </pc:spChg>
        <pc:spChg chg="add mod replST">
          <ac:chgData name="Sergio Rolando Rodriguez Reyes" userId="bc7f949a-5d89-4772-8b57-7c66ececa47e" providerId="ADAL" clId="{4DD89593-9D8C-494D-A0EC-13F1365AA728}" dt="2022-01-12T12:57:45.532" v="494"/>
          <ac:spMkLst>
            <pc:docMk/>
            <pc:sldMk cId="79718598" sldId="2145705421"/>
            <ac:spMk id="33" creationId="{3AAB08F8-E8EA-4EAE-A33A-4C1B0A99464B}"/>
          </ac:spMkLst>
        </pc:spChg>
        <pc:spChg chg="add mod replST">
          <ac:chgData name="Sergio Rolando Rodriguez Reyes" userId="bc7f949a-5d89-4772-8b57-7c66ececa47e" providerId="ADAL" clId="{4DD89593-9D8C-494D-A0EC-13F1365AA728}" dt="2022-01-12T12:57:45.533" v="495"/>
          <ac:spMkLst>
            <pc:docMk/>
            <pc:sldMk cId="79718598" sldId="2145705421"/>
            <ac:spMk id="34" creationId="{36128149-B2BE-4BC4-801A-7E9A9C1F88A4}"/>
          </ac:spMkLst>
        </pc:spChg>
        <pc:spChg chg="add mod replST">
          <ac:chgData name="Sergio Rolando Rodriguez Reyes" userId="bc7f949a-5d89-4772-8b57-7c66ececa47e" providerId="ADAL" clId="{4DD89593-9D8C-494D-A0EC-13F1365AA728}" dt="2022-01-12T12:57:45.538" v="499"/>
          <ac:spMkLst>
            <pc:docMk/>
            <pc:sldMk cId="79718598" sldId="2145705421"/>
            <ac:spMk id="35" creationId="{0DA4B92D-6C08-4BE7-A751-F8C3FB3E1A4E}"/>
          </ac:spMkLst>
        </pc:spChg>
        <pc:spChg chg="add mod replST">
          <ac:chgData name="Sergio Rolando Rodriguez Reyes" userId="bc7f949a-5d89-4772-8b57-7c66ececa47e" providerId="ADAL" clId="{4DD89593-9D8C-494D-A0EC-13F1365AA728}" dt="2022-01-12T12:57:45.539" v="500"/>
          <ac:spMkLst>
            <pc:docMk/>
            <pc:sldMk cId="79718598" sldId="2145705421"/>
            <ac:spMk id="36" creationId="{54C54C63-455B-441A-969B-CB2580E6713B}"/>
          </ac:spMkLst>
        </pc:spChg>
        <pc:spChg chg="add mod replST">
          <ac:chgData name="Sergio Rolando Rodriguez Reyes" userId="bc7f949a-5d89-4772-8b57-7c66ececa47e" providerId="ADAL" clId="{4DD89593-9D8C-494D-A0EC-13F1365AA728}" dt="2022-01-12T12:57:45.540" v="501"/>
          <ac:spMkLst>
            <pc:docMk/>
            <pc:sldMk cId="79718598" sldId="2145705421"/>
            <ac:spMk id="37" creationId="{690F753D-632C-4FC5-B434-0D04E6AD677B}"/>
          </ac:spMkLst>
        </pc:spChg>
        <pc:spChg chg="add mod replST">
          <ac:chgData name="Sergio Rolando Rodriguez Reyes" userId="bc7f949a-5d89-4772-8b57-7c66ececa47e" providerId="ADAL" clId="{4DD89593-9D8C-494D-A0EC-13F1365AA728}" dt="2022-01-12T12:57:45.535" v="496"/>
          <ac:spMkLst>
            <pc:docMk/>
            <pc:sldMk cId="79718598" sldId="2145705421"/>
            <ac:spMk id="38" creationId="{FC1A8AD6-E320-444B-B59D-12D2EEA04497}"/>
          </ac:spMkLst>
        </pc:spChg>
        <pc:spChg chg="add mod ord">
          <ac:chgData name="Sergio Rolando Rodriguez Reyes" userId="bc7f949a-5d89-4772-8b57-7c66ececa47e" providerId="ADAL" clId="{4DD89593-9D8C-494D-A0EC-13F1365AA728}" dt="2022-01-12T12:57:45.541" v="503"/>
          <ac:spMkLst>
            <pc:docMk/>
            <pc:sldMk cId="79718598" sldId="2145705421"/>
            <ac:spMk id="39" creationId="{59D43EB7-38F6-488A-B2F0-205FD732CEC2}"/>
          </ac:spMkLst>
        </pc:spChg>
        <pc:spChg chg="add mod replST">
          <ac:chgData name="Sergio Rolando Rodriguez Reyes" userId="bc7f949a-5d89-4772-8b57-7c66ececa47e" providerId="ADAL" clId="{4DD89593-9D8C-494D-A0EC-13F1365AA728}" dt="2022-01-12T12:57:45.543" v="505"/>
          <ac:spMkLst>
            <pc:docMk/>
            <pc:sldMk cId="79718598" sldId="2145705421"/>
            <ac:spMk id="40" creationId="{45E573C1-86C4-4F00-A5EF-70AC9103A1EE}"/>
          </ac:spMkLst>
        </pc:spChg>
        <pc:spChg chg="add mod replST">
          <ac:chgData name="Sergio Rolando Rodriguez Reyes" userId="bc7f949a-5d89-4772-8b57-7c66ececa47e" providerId="ADAL" clId="{4DD89593-9D8C-494D-A0EC-13F1365AA728}" dt="2022-01-12T12:57:45.541" v="504"/>
          <ac:spMkLst>
            <pc:docMk/>
            <pc:sldMk cId="79718598" sldId="2145705421"/>
            <ac:spMk id="41" creationId="{58EF5A41-7091-45F0-B642-1E6E451D726F}"/>
          </ac:spMkLst>
        </pc:spChg>
        <pc:spChg chg="add mod replST">
          <ac:chgData name="Sergio Rolando Rodriguez Reyes" userId="bc7f949a-5d89-4772-8b57-7c66ececa47e" providerId="ADAL" clId="{4DD89593-9D8C-494D-A0EC-13F1365AA728}" dt="2022-01-12T12:58:22.696" v="825"/>
          <ac:spMkLst>
            <pc:docMk/>
            <pc:sldMk cId="79718598" sldId="2145705421"/>
            <ac:spMk id="42" creationId="{ACC5427B-8430-41FC-B4DB-EF0A0193A1E1}"/>
          </ac:spMkLst>
        </pc:spChg>
        <pc:spChg chg="add mod replST">
          <ac:chgData name="Sergio Rolando Rodriguez Reyes" userId="bc7f949a-5d89-4772-8b57-7c66ececa47e" providerId="ADAL" clId="{4DD89593-9D8C-494D-A0EC-13F1365AA728}" dt="2022-01-12T12:58:22.695" v="824"/>
          <ac:spMkLst>
            <pc:docMk/>
            <pc:sldMk cId="79718598" sldId="2145705421"/>
            <ac:spMk id="43" creationId="{1C39E918-9BDD-474E-941C-52A109BF4536}"/>
          </ac:spMkLst>
        </pc:spChg>
        <pc:spChg chg="add del mod modVis">
          <ac:chgData name="Sergio Rolando Rodriguez Reyes" userId="bc7f949a-5d89-4772-8b57-7c66ececa47e" providerId="ADAL" clId="{4DD89593-9D8C-494D-A0EC-13F1365AA728}" dt="2022-01-12T12:57:45.547" v="510"/>
          <ac:spMkLst>
            <pc:docMk/>
            <pc:sldMk cId="79718598" sldId="2145705421"/>
            <ac:spMk id="44" creationId="{1F1E9DFF-AD2D-4404-B03E-E6D8CDE06079}"/>
          </ac:spMkLst>
        </pc:spChg>
        <pc:spChg chg="add del mod modVis">
          <ac:chgData name="Sergio Rolando Rodriguez Reyes" userId="bc7f949a-5d89-4772-8b57-7c66ececa47e" providerId="ADAL" clId="{4DD89593-9D8C-494D-A0EC-13F1365AA728}" dt="2022-01-12T12:57:59.622" v="574"/>
          <ac:spMkLst>
            <pc:docMk/>
            <pc:sldMk cId="79718598" sldId="2145705421"/>
            <ac:spMk id="47" creationId="{3DFBE808-02BE-4027-84CD-E75DFE756E26}"/>
          </ac:spMkLst>
        </pc:spChg>
        <pc:spChg chg="add del mod modVis">
          <ac:chgData name="Sergio Rolando Rodriguez Reyes" userId="bc7f949a-5d89-4772-8b57-7c66ececa47e" providerId="ADAL" clId="{4DD89593-9D8C-494D-A0EC-13F1365AA728}" dt="2022-01-12T12:58:07.785" v="620"/>
          <ac:spMkLst>
            <pc:docMk/>
            <pc:sldMk cId="79718598" sldId="2145705421"/>
            <ac:spMk id="48" creationId="{448EA0AA-9525-4BFF-91B3-3DB9189993EC}"/>
          </ac:spMkLst>
        </pc:spChg>
        <pc:spChg chg="add del mod modVis">
          <ac:chgData name="Sergio Rolando Rodriguez Reyes" userId="bc7f949a-5d89-4772-8b57-7c66ececa47e" providerId="ADAL" clId="{4DD89593-9D8C-494D-A0EC-13F1365AA728}" dt="2022-01-12T12:58:08.938" v="666"/>
          <ac:spMkLst>
            <pc:docMk/>
            <pc:sldMk cId="79718598" sldId="2145705421"/>
            <ac:spMk id="49" creationId="{07D4BE61-3AB5-4755-90B7-D9E93A6368B2}"/>
          </ac:spMkLst>
        </pc:spChg>
        <pc:spChg chg="add del mod modVis">
          <ac:chgData name="Sergio Rolando Rodriguez Reyes" userId="bc7f949a-5d89-4772-8b57-7c66ececa47e" providerId="ADAL" clId="{4DD89593-9D8C-494D-A0EC-13F1365AA728}" dt="2022-01-12T12:58:16.012" v="712"/>
          <ac:spMkLst>
            <pc:docMk/>
            <pc:sldMk cId="79718598" sldId="2145705421"/>
            <ac:spMk id="50" creationId="{75A9E630-AD42-442E-962D-92D22E9823C2}"/>
          </ac:spMkLst>
        </pc:spChg>
        <pc:spChg chg="add del mod modVis">
          <ac:chgData name="Sergio Rolando Rodriguez Reyes" userId="bc7f949a-5d89-4772-8b57-7c66ececa47e" providerId="ADAL" clId="{4DD89593-9D8C-494D-A0EC-13F1365AA728}" dt="2022-01-12T12:58:17.263" v="758"/>
          <ac:spMkLst>
            <pc:docMk/>
            <pc:sldMk cId="79718598" sldId="2145705421"/>
            <ac:spMk id="51" creationId="{55D50C00-111D-402A-980B-65D831CA21A5}"/>
          </ac:spMkLst>
        </pc:spChg>
        <pc:spChg chg="add del mod modVis">
          <ac:chgData name="Sergio Rolando Rodriguez Reyes" userId="bc7f949a-5d89-4772-8b57-7c66ececa47e" providerId="ADAL" clId="{4DD89593-9D8C-494D-A0EC-13F1365AA728}" dt="2022-01-12T12:58:20.626" v="820"/>
          <ac:spMkLst>
            <pc:docMk/>
            <pc:sldMk cId="79718598" sldId="2145705421"/>
            <ac:spMk id="52" creationId="{7ADD3954-96A3-4068-849B-93F968B75839}"/>
          </ac:spMkLst>
        </pc:spChg>
        <pc:spChg chg="add del mod modVis">
          <ac:chgData name="Sergio Rolando Rodriguez Reyes" userId="bc7f949a-5d89-4772-8b57-7c66ececa47e" providerId="ADAL" clId="{4DD89593-9D8C-494D-A0EC-13F1365AA728}" dt="2022-01-12T12:58:22.800" v="881"/>
          <ac:spMkLst>
            <pc:docMk/>
            <pc:sldMk cId="79718598" sldId="2145705421"/>
            <ac:spMk id="53" creationId="{740D5857-DA52-4745-877C-7E6587538143}"/>
          </ac:spMkLst>
        </pc:spChg>
        <pc:graphicFrameChg chg="add del mod replST">
          <ac:chgData name="Sergio Rolando Rodriguez Reyes" userId="bc7f949a-5d89-4772-8b57-7c66ececa47e" providerId="ADAL" clId="{4DD89593-9D8C-494D-A0EC-13F1365AA728}" dt="2022-01-12T12:57:45.457" v="450"/>
          <ac:graphicFrameMkLst>
            <pc:docMk/>
            <pc:sldMk cId="79718598" sldId="2145705421"/>
            <ac:graphicFrameMk id="11" creationId="{AED262A7-857B-4A95-9E9E-4165C802F3F3}"/>
          </ac:graphicFrameMkLst>
        </pc:graphicFrameChg>
        <pc:graphicFrameChg chg="add mod replST">
          <ac:chgData name="Sergio Rolando Rodriguez Reyes" userId="bc7f949a-5d89-4772-8b57-7c66ececa47e" providerId="ADAL" clId="{4DD89593-9D8C-494D-A0EC-13F1365AA728}" dt="2022-01-12T12:57:45.514" v="473"/>
          <ac:graphicFrameMkLst>
            <pc:docMk/>
            <pc:sldMk cId="79718598" sldId="2145705421"/>
            <ac:graphicFrameMk id="45" creationId="{84437831-DCDB-45C4-AF1B-E6E7A8312066}"/>
          </ac:graphicFrameMkLst>
        </pc:graphicFrameChg>
        <pc:graphicFrameChg chg="add mod ord modVis replST">
          <ac:chgData name="Sergio Rolando Rodriguez Reyes" userId="bc7f949a-5d89-4772-8b57-7c66ececa47e" providerId="ADAL" clId="{4DD89593-9D8C-494D-A0EC-13F1365AA728}" dt="2022-01-12T12:58:22.810" v="883"/>
          <ac:graphicFrameMkLst>
            <pc:docMk/>
            <pc:sldMk cId="79718598" sldId="2145705421"/>
            <ac:graphicFrameMk id="46" creationId="{5651AE87-1386-497D-8B25-B2F43BC9B44F}"/>
          </ac:graphicFrameMkLst>
        </pc:graphicFrameChg>
        <pc:cxnChg chg="add mod ord replST">
          <ac:chgData name="Sergio Rolando Rodriguez Reyes" userId="bc7f949a-5d89-4772-8b57-7c66ececa47e" providerId="ADAL" clId="{4DD89593-9D8C-494D-A0EC-13F1365AA728}" dt="2022-01-12T12:57:45.517" v="476"/>
          <ac:cxnSpMkLst>
            <pc:docMk/>
            <pc:sldMk cId="79718598" sldId="2145705421"/>
            <ac:cxnSpMk id="13" creationId="{3CFFE12C-246C-4BAE-B118-9ECE57FC28E6}"/>
          </ac:cxnSpMkLst>
        </pc:cxnChg>
      </pc:sldChg>
    </pc:docChg>
  </pc:docChgLst>
  <pc:docChgLst>
    <pc:chgData name="Sergio Rolando Rodriguez Reyes" userId="bc7f949a-5d89-4772-8b57-7c66ececa47e" providerId="ADAL" clId="{FF4ABA53-1783-48DF-9D5F-FFFF0F624D71}"/>
    <pc:docChg chg="undo custSel addSld delSld modSld">
      <pc:chgData name="Sergio Rolando Rodriguez Reyes" userId="bc7f949a-5d89-4772-8b57-7c66ececa47e" providerId="ADAL" clId="{FF4ABA53-1783-48DF-9D5F-FFFF0F624D71}" dt="2022-06-06T03:44:58.252" v="6128" actId="20577"/>
      <pc:docMkLst>
        <pc:docMk/>
      </pc:docMkLst>
      <pc:sldChg chg="del">
        <pc:chgData name="Sergio Rolando Rodriguez Reyes" userId="bc7f949a-5d89-4772-8b57-7c66ececa47e" providerId="ADAL" clId="{FF4ABA53-1783-48DF-9D5F-FFFF0F624D71}" dt="2022-05-23T13:47:37.171" v="1" actId="47"/>
        <pc:sldMkLst>
          <pc:docMk/>
          <pc:sldMk cId="4029699778" sldId="12958"/>
        </pc:sldMkLst>
      </pc:sldChg>
      <pc:sldChg chg="del">
        <pc:chgData name="Sergio Rolando Rodriguez Reyes" userId="bc7f949a-5d89-4772-8b57-7c66ececa47e" providerId="ADAL" clId="{FF4ABA53-1783-48DF-9D5F-FFFF0F624D71}" dt="2022-05-23T13:48:51.840" v="672" actId="47"/>
        <pc:sldMkLst>
          <pc:docMk/>
          <pc:sldMk cId="1522296745" sldId="12959"/>
        </pc:sldMkLst>
      </pc:sldChg>
      <pc:sldChg chg="addSp delSp modSp mod">
        <pc:chgData name="Sergio Rolando Rodriguez Reyes" userId="bc7f949a-5d89-4772-8b57-7c66ececa47e" providerId="ADAL" clId="{FF4ABA53-1783-48DF-9D5F-FFFF0F624D71}" dt="2022-06-06T03:44:58.252" v="6128" actId="20577"/>
        <pc:sldMkLst>
          <pc:docMk/>
          <pc:sldMk cId="1803758223" sldId="12961"/>
        </pc:sldMkLst>
        <pc:spChg chg="mod ord">
          <ac:chgData name="Sergio Rolando Rodriguez Reyes" userId="bc7f949a-5d89-4772-8b57-7c66ececa47e" providerId="ADAL" clId="{FF4ABA53-1783-48DF-9D5F-FFFF0F624D71}" dt="2022-06-06T03:39:39.960" v="5981" actId="948"/>
          <ac:spMkLst>
            <pc:docMk/>
            <pc:sldMk cId="1803758223" sldId="12961"/>
            <ac:spMk id="2" creationId="{CC8315D2-BC4F-449F-9D85-44FFFB7D858B}"/>
          </ac:spMkLst>
        </pc:spChg>
        <pc:spChg chg="add del mod modVis">
          <ac:chgData name="Sergio Rolando Rodriguez Reyes" userId="bc7f949a-5d89-4772-8b57-7c66ececa47e" providerId="ADAL" clId="{FF4ABA53-1783-48DF-9D5F-FFFF0F624D71}" dt="2022-05-30T19:07:14.964" v="5111"/>
          <ac:spMkLst>
            <pc:docMk/>
            <pc:sldMk cId="1803758223" sldId="12961"/>
            <ac:spMk id="3" creationId="{0900A99D-B4FE-581C-9879-8C0E1A544BDD}"/>
          </ac:spMkLst>
        </pc:spChg>
        <pc:spChg chg="add del mod modVis">
          <ac:chgData name="Sergio Rolando Rodriguez Reyes" userId="bc7f949a-5d89-4772-8b57-7c66ececa47e" providerId="ADAL" clId="{FF4ABA53-1783-48DF-9D5F-FFFF0F624D71}" dt="2022-06-06T03:39:22.982" v="5821"/>
          <ac:spMkLst>
            <pc:docMk/>
            <pc:sldMk cId="1803758223" sldId="12961"/>
            <ac:spMk id="3" creationId="{21B78C7E-C6F7-32EA-8D2D-2DB06D37BA25}"/>
          </ac:spMkLst>
        </pc:spChg>
        <pc:spChg chg="add del mod modVis">
          <ac:chgData name="Sergio Rolando Rodriguez Reyes" userId="bc7f949a-5d89-4772-8b57-7c66ececa47e" providerId="ADAL" clId="{FF4ABA53-1783-48DF-9D5F-FFFF0F624D71}" dt="2022-05-23T13:48:15.361" v="179" actId="20578"/>
          <ac:spMkLst>
            <pc:docMk/>
            <pc:sldMk cId="1803758223" sldId="12961"/>
            <ac:spMk id="3" creationId="{2DCEA3D4-9A16-049B-B4A4-73115865DCE1}"/>
          </ac:spMkLst>
        </pc:spChg>
        <pc:spChg chg="mod ord">
          <ac:chgData name="Sergio Rolando Rodriguez Reyes" userId="bc7f949a-5d89-4772-8b57-7c66ececa47e" providerId="ADAL" clId="{FF4ABA53-1783-48DF-9D5F-FFFF0F624D71}" dt="2022-05-23T13:50:53.164" v="695"/>
          <ac:spMkLst>
            <pc:docMk/>
            <pc:sldMk cId="1803758223" sldId="12961"/>
            <ac:spMk id="4" creationId="{AC23F70A-17A5-45D8-94F5-E4B07EC8A189}"/>
          </ac:spMkLst>
        </pc:spChg>
        <pc:spChg chg="mod ord">
          <ac:chgData name="Sergio Rolando Rodriguez Reyes" userId="bc7f949a-5d89-4772-8b57-7c66ececa47e" providerId="ADAL" clId="{FF4ABA53-1783-48DF-9D5F-FFFF0F624D71}" dt="2022-05-23T13:50:53.165" v="697"/>
          <ac:spMkLst>
            <pc:docMk/>
            <pc:sldMk cId="1803758223" sldId="12961"/>
            <ac:spMk id="5" creationId="{BA1DF384-5068-49F8-ACC1-53F28F953CC7}"/>
          </ac:spMkLst>
        </pc:spChg>
        <pc:spChg chg="add del mod modVis">
          <ac:chgData name="Sergio Rolando Rodriguez Reyes" userId="bc7f949a-5d89-4772-8b57-7c66ececa47e" providerId="ADAL" clId="{FF4ABA53-1783-48DF-9D5F-FFFF0F624D71}" dt="2022-05-23T13:48:19.207" v="255"/>
          <ac:spMkLst>
            <pc:docMk/>
            <pc:sldMk cId="1803758223" sldId="12961"/>
            <ac:spMk id="6" creationId="{A997CCAE-E61F-B0CF-DF3B-B2544822C1F7}"/>
          </ac:spMkLst>
        </pc:spChg>
        <pc:spChg chg="add del mod modVis">
          <ac:chgData name="Sergio Rolando Rodriguez Reyes" userId="bc7f949a-5d89-4772-8b57-7c66ececa47e" providerId="ADAL" clId="{FF4ABA53-1783-48DF-9D5F-FFFF0F624D71}" dt="2022-05-30T19:07:16.491" v="5184"/>
          <ac:spMkLst>
            <pc:docMk/>
            <pc:sldMk cId="1803758223" sldId="12961"/>
            <ac:spMk id="6" creationId="{AE598490-394F-040A-692D-4E50835D03B9}"/>
          </ac:spMkLst>
        </pc:spChg>
        <pc:spChg chg="add del mod modVis">
          <ac:chgData name="Sergio Rolando Rodriguez Reyes" userId="bc7f949a-5d89-4772-8b57-7c66ececa47e" providerId="ADAL" clId="{FF4ABA53-1783-48DF-9D5F-FFFF0F624D71}" dt="2022-06-06T03:39:25.127" v="5904"/>
          <ac:spMkLst>
            <pc:docMk/>
            <pc:sldMk cId="1803758223" sldId="12961"/>
            <ac:spMk id="6" creationId="{CF310ABC-0380-9FB0-A50F-6EE5CD878EA6}"/>
          </ac:spMkLst>
        </pc:spChg>
        <pc:spChg chg="mod ord">
          <ac:chgData name="Sergio Rolando Rodriguez Reyes" userId="bc7f949a-5d89-4772-8b57-7c66ececa47e" providerId="ADAL" clId="{FF4ABA53-1783-48DF-9D5F-FFFF0F624D71}" dt="2022-05-23T13:50:53.161" v="691"/>
          <ac:spMkLst>
            <pc:docMk/>
            <pc:sldMk cId="1803758223" sldId="12961"/>
            <ac:spMk id="8" creationId="{F421104D-3222-4D96-9EA6-98174B53CA16}"/>
          </ac:spMkLst>
        </pc:spChg>
        <pc:spChg chg="add del mod modVis">
          <ac:chgData name="Sergio Rolando Rodriguez Reyes" userId="bc7f949a-5d89-4772-8b57-7c66ececa47e" providerId="ADAL" clId="{FF4ABA53-1783-48DF-9D5F-FFFF0F624D71}" dt="2022-05-30T19:07:18.670" v="5258"/>
          <ac:spMkLst>
            <pc:docMk/>
            <pc:sldMk cId="1803758223" sldId="12961"/>
            <ac:spMk id="9" creationId="{41D413AB-86F2-C5A7-3811-A7D71E6B4C1A}"/>
          </ac:spMkLst>
        </pc:spChg>
        <pc:spChg chg="add del mod modVis">
          <ac:chgData name="Sergio Rolando Rodriguez Reyes" userId="bc7f949a-5d89-4772-8b57-7c66ececa47e" providerId="ADAL" clId="{FF4ABA53-1783-48DF-9D5F-FFFF0F624D71}" dt="2022-06-06T03:39:35.937" v="5977"/>
          <ac:spMkLst>
            <pc:docMk/>
            <pc:sldMk cId="1803758223" sldId="12961"/>
            <ac:spMk id="9" creationId="{9DFD2589-2566-A2C8-8165-E2F2AD1EC93C}"/>
          </ac:spMkLst>
        </pc:spChg>
        <pc:spChg chg="add del mod modVis">
          <ac:chgData name="Sergio Rolando Rodriguez Reyes" userId="bc7f949a-5d89-4772-8b57-7c66ececa47e" providerId="ADAL" clId="{FF4ABA53-1783-48DF-9D5F-FFFF0F624D71}" dt="2022-05-23T13:48:20.398" v="333"/>
          <ac:spMkLst>
            <pc:docMk/>
            <pc:sldMk cId="1803758223" sldId="12961"/>
            <ac:spMk id="9" creationId="{A572DDAF-8CD9-0BA0-C8EB-45792C29FF74}"/>
          </ac:spMkLst>
        </pc:spChg>
        <pc:spChg chg="add del mod modVis">
          <ac:chgData name="Sergio Rolando Rodriguez Reyes" userId="bc7f949a-5d89-4772-8b57-7c66ececa47e" providerId="ADAL" clId="{FF4ABA53-1783-48DF-9D5F-FFFF0F624D71}" dt="2022-06-06T03:39:40.078" v="6035"/>
          <ac:spMkLst>
            <pc:docMk/>
            <pc:sldMk cId="1803758223" sldId="12961"/>
            <ac:spMk id="10" creationId="{01236366-F184-96F1-651E-1DB1825414A3}"/>
          </ac:spMkLst>
        </pc:spChg>
        <pc:spChg chg="add del mod modVis">
          <ac:chgData name="Sergio Rolando Rodriguez Reyes" userId="bc7f949a-5d89-4772-8b57-7c66ececa47e" providerId="ADAL" clId="{FF4ABA53-1783-48DF-9D5F-FFFF0F624D71}" dt="2022-05-30T19:07:20.689" v="5332"/>
          <ac:spMkLst>
            <pc:docMk/>
            <pc:sldMk cId="1803758223" sldId="12961"/>
            <ac:spMk id="10" creationId="{62CAB650-53E0-B33F-D942-30441750FCD2}"/>
          </ac:spMkLst>
        </pc:spChg>
        <pc:spChg chg="add del mod modVis">
          <ac:chgData name="Sergio Rolando Rodriguez Reyes" userId="bc7f949a-5d89-4772-8b57-7c66ececa47e" providerId="ADAL" clId="{FF4ABA53-1783-48DF-9D5F-FFFF0F624D71}" dt="2022-05-23T13:48:21.646" v="411"/>
          <ac:spMkLst>
            <pc:docMk/>
            <pc:sldMk cId="1803758223" sldId="12961"/>
            <ac:spMk id="10" creationId="{EFD0D77F-7E39-0AE2-93F4-781BF6059B47}"/>
          </ac:spMkLst>
        </pc:spChg>
        <pc:spChg chg="add del mod modVis">
          <ac:chgData name="Sergio Rolando Rodriguez Reyes" userId="bc7f949a-5d89-4772-8b57-7c66ececa47e" providerId="ADAL" clId="{FF4ABA53-1783-48DF-9D5F-FFFF0F624D71}" dt="2022-05-23T13:48:28.676" v="489"/>
          <ac:spMkLst>
            <pc:docMk/>
            <pc:sldMk cId="1803758223" sldId="12961"/>
            <ac:spMk id="11" creationId="{983A67B1-EA79-434B-9985-E8F714DB5E83}"/>
          </ac:spMkLst>
        </pc:spChg>
        <pc:spChg chg="add del mod modVis">
          <ac:chgData name="Sergio Rolando Rodriguez Reyes" userId="bc7f949a-5d89-4772-8b57-7c66ececa47e" providerId="ADAL" clId="{FF4ABA53-1783-48DF-9D5F-FFFF0F624D71}" dt="2022-05-23T13:48:29.595" v="565"/>
          <ac:spMkLst>
            <pc:docMk/>
            <pc:sldMk cId="1803758223" sldId="12961"/>
            <ac:spMk id="12" creationId="{D56126DA-F939-B698-621C-EBC9A129FA48}"/>
          </ac:spMkLst>
        </pc:spChg>
        <pc:spChg chg="add del mod modVis">
          <ac:chgData name="Sergio Rolando Rodriguez Reyes" userId="bc7f949a-5d89-4772-8b57-7c66ececa47e" providerId="ADAL" clId="{FF4ABA53-1783-48DF-9D5F-FFFF0F624D71}" dt="2022-05-23T13:48:33.960" v="651"/>
          <ac:spMkLst>
            <pc:docMk/>
            <pc:sldMk cId="1803758223" sldId="12961"/>
            <ac:spMk id="13" creationId="{BA1FE3A1-A035-D3E2-F9C2-3465623DA1AD}"/>
          </ac:spMkLst>
        </pc:spChg>
        <pc:spChg chg="add del mod ord">
          <ac:chgData name="Sergio Rolando Rodriguez Reyes" userId="bc7f949a-5d89-4772-8b57-7c66ececa47e" providerId="ADAL" clId="{FF4ABA53-1783-48DF-9D5F-FFFF0F624D71}" dt="2022-05-23T13:51:50.331" v="801"/>
          <ac:spMkLst>
            <pc:docMk/>
            <pc:sldMk cId="1803758223" sldId="12961"/>
            <ac:spMk id="18" creationId="{6CD52911-6118-D7B9-7D4A-8E2A5C584DF9}"/>
          </ac:spMkLst>
        </pc:spChg>
        <pc:spChg chg="add mod">
          <ac:chgData name="Sergio Rolando Rodriguez Reyes" userId="bc7f949a-5d89-4772-8b57-7c66ececa47e" providerId="ADAL" clId="{FF4ABA53-1783-48DF-9D5F-FFFF0F624D71}" dt="2022-06-02T19:16:09.726" v="5745" actId="14100"/>
          <ac:spMkLst>
            <pc:docMk/>
            <pc:sldMk cId="1803758223" sldId="12961"/>
            <ac:spMk id="19" creationId="{F2538148-03D8-7089-E7E6-E3DAFA561AAE}"/>
          </ac:spMkLst>
        </pc:spChg>
        <pc:spChg chg="add del mod modVis">
          <ac:chgData name="Sergio Rolando Rodriguez Reyes" userId="bc7f949a-5d89-4772-8b57-7c66ececa47e" providerId="ADAL" clId="{FF4ABA53-1783-48DF-9D5F-FFFF0F624D71}" dt="2022-05-23T14:06:48.152" v="4229"/>
          <ac:spMkLst>
            <pc:docMk/>
            <pc:sldMk cId="1803758223" sldId="12961"/>
            <ac:spMk id="24" creationId="{15AC1A2C-C3EE-20CA-ECB9-96A2DC0B5F92}"/>
          </ac:spMkLst>
        </pc:spChg>
        <pc:spChg chg="add del mod modVis">
          <ac:chgData name="Sergio Rolando Rodriguez Reyes" userId="bc7f949a-5d89-4772-8b57-7c66ececa47e" providerId="ADAL" clId="{FF4ABA53-1783-48DF-9D5F-FFFF0F624D71}" dt="2022-05-23T14:06:49.567" v="4305"/>
          <ac:spMkLst>
            <pc:docMk/>
            <pc:sldMk cId="1803758223" sldId="12961"/>
            <ac:spMk id="25" creationId="{342D4B97-805B-BA65-04E0-46F8957F4E67}"/>
          </ac:spMkLst>
        </pc:spChg>
        <pc:spChg chg="add del mod modVis">
          <ac:chgData name="Sergio Rolando Rodriguez Reyes" userId="bc7f949a-5d89-4772-8b57-7c66ececa47e" providerId="ADAL" clId="{FF4ABA53-1783-48DF-9D5F-FFFF0F624D71}" dt="2022-05-23T14:06:52.231" v="4387"/>
          <ac:spMkLst>
            <pc:docMk/>
            <pc:sldMk cId="1803758223" sldId="12961"/>
            <ac:spMk id="26" creationId="{CF7A419A-3539-1CC0-C065-5B300326A369}"/>
          </ac:spMkLst>
        </pc:spChg>
        <pc:spChg chg="add del mod modVis">
          <ac:chgData name="Sergio Rolando Rodriguez Reyes" userId="bc7f949a-5d89-4772-8b57-7c66ececa47e" providerId="ADAL" clId="{FF4ABA53-1783-48DF-9D5F-FFFF0F624D71}" dt="2022-05-23T14:07:07.028" v="4460"/>
          <ac:spMkLst>
            <pc:docMk/>
            <pc:sldMk cId="1803758223" sldId="12961"/>
            <ac:spMk id="27" creationId="{308A380A-4382-A1BF-A04A-860F196ED84C}"/>
          </ac:spMkLst>
        </pc:spChg>
        <pc:spChg chg="add del mod modVis">
          <ac:chgData name="Sergio Rolando Rodriguez Reyes" userId="bc7f949a-5d89-4772-8b57-7c66ececa47e" providerId="ADAL" clId="{FF4ABA53-1783-48DF-9D5F-FFFF0F624D71}" dt="2022-05-23T14:07:08.069" v="4533"/>
          <ac:spMkLst>
            <pc:docMk/>
            <pc:sldMk cId="1803758223" sldId="12961"/>
            <ac:spMk id="28" creationId="{201D8F40-BF86-4A86-08B3-014DB4E3984D}"/>
          </ac:spMkLst>
        </pc:spChg>
        <pc:spChg chg="add del mod modVis">
          <ac:chgData name="Sergio Rolando Rodriguez Reyes" userId="bc7f949a-5d89-4772-8b57-7c66ececa47e" providerId="ADAL" clId="{FF4ABA53-1783-48DF-9D5F-FFFF0F624D71}" dt="2022-05-23T14:07:10.639" v="4607"/>
          <ac:spMkLst>
            <pc:docMk/>
            <pc:sldMk cId="1803758223" sldId="12961"/>
            <ac:spMk id="29" creationId="{DE33BDA5-A02B-D54D-5473-7A94EC668B8E}"/>
          </ac:spMkLst>
        </pc:spChg>
        <pc:spChg chg="mod ord">
          <ac:chgData name="Sergio Rolando Rodriguez Reyes" userId="bc7f949a-5d89-4772-8b57-7c66ececa47e" providerId="ADAL" clId="{FF4ABA53-1783-48DF-9D5F-FFFF0F624D71}" dt="2022-05-23T20:48:51.108" v="4891" actId="20577"/>
          <ac:spMkLst>
            <pc:docMk/>
            <pc:sldMk cId="1803758223" sldId="12961"/>
            <ac:spMk id="35" creationId="{CC8315D2-BC4F-449F-9D85-44FFFB7D858B}"/>
          </ac:spMkLst>
        </pc:spChg>
        <pc:spChg chg="mod ord">
          <ac:chgData name="Sergio Rolando Rodriguez Reyes" userId="bc7f949a-5d89-4772-8b57-7c66ececa47e" providerId="ADAL" clId="{FF4ABA53-1783-48DF-9D5F-FFFF0F624D71}" dt="2022-05-23T20:49:46.835" v="4990" actId="1076"/>
          <ac:spMkLst>
            <pc:docMk/>
            <pc:sldMk cId="1803758223" sldId="12961"/>
            <ac:spMk id="36" creationId="{A656D0C4-C7CA-4D07-8725-851704EDA951}"/>
          </ac:spMkLst>
        </pc:spChg>
        <pc:spChg chg="add mod">
          <ac:chgData name="Sergio Rolando Rodriguez Reyes" userId="bc7f949a-5d89-4772-8b57-7c66ececa47e" providerId="ADAL" clId="{FF4ABA53-1783-48DF-9D5F-FFFF0F624D71}" dt="2022-05-30T19:07:02.594" v="5040" actId="20577"/>
          <ac:spMkLst>
            <pc:docMk/>
            <pc:sldMk cId="1803758223" sldId="12961"/>
            <ac:spMk id="45" creationId="{456473EC-729E-C934-C0A0-B1F9B3152A65}"/>
          </ac:spMkLst>
        </pc:spChg>
        <pc:spChg chg="add mod">
          <ac:chgData name="Sergio Rolando Rodriguez Reyes" userId="bc7f949a-5d89-4772-8b57-7c66ececa47e" providerId="ADAL" clId="{FF4ABA53-1783-48DF-9D5F-FFFF0F624D71}" dt="2022-05-23T18:41:43.339" v="4872" actId="1076"/>
          <ac:spMkLst>
            <pc:docMk/>
            <pc:sldMk cId="1803758223" sldId="12961"/>
            <ac:spMk id="46" creationId="{81010C6A-0268-629B-0B62-DAF1A40A1FDF}"/>
          </ac:spMkLst>
        </pc:spChg>
        <pc:spChg chg="add mod">
          <ac:chgData name="Sergio Rolando Rodriguez Reyes" userId="bc7f949a-5d89-4772-8b57-7c66ececa47e" providerId="ADAL" clId="{FF4ABA53-1783-48DF-9D5F-FFFF0F624D71}" dt="2022-06-02T19:17:45.330" v="5747" actId="20577"/>
          <ac:spMkLst>
            <pc:docMk/>
            <pc:sldMk cId="1803758223" sldId="12961"/>
            <ac:spMk id="47" creationId="{1C05EE39-2ED5-4221-F486-EB35AFAB609D}"/>
          </ac:spMkLst>
        </pc:spChg>
        <pc:spChg chg="del">
          <ac:chgData name="Sergio Rolando Rodriguez Reyes" userId="bc7f949a-5d89-4772-8b57-7c66ececa47e" providerId="ADAL" clId="{FF4ABA53-1783-48DF-9D5F-FFFF0F624D71}" dt="2022-05-23T13:48:06.153" v="7" actId="478"/>
          <ac:spMkLst>
            <pc:docMk/>
            <pc:sldMk cId="1803758223" sldId="12961"/>
            <ac:spMk id="48" creationId="{9A9CF425-F7E7-499F-9A69-6F40DF002438}"/>
          </ac:spMkLst>
        </pc:spChg>
        <pc:spChg chg="add mod">
          <ac:chgData name="Sergio Rolando Rodriguez Reyes" userId="bc7f949a-5d89-4772-8b57-7c66ececa47e" providerId="ADAL" clId="{FF4ABA53-1783-48DF-9D5F-FFFF0F624D71}" dt="2022-05-23T14:02:46.463" v="2787" actId="1076"/>
          <ac:spMkLst>
            <pc:docMk/>
            <pc:sldMk cId="1803758223" sldId="12961"/>
            <ac:spMk id="49" creationId="{6CC8677F-8BAD-7EC5-10DC-D9AAA3BA5C44}"/>
          </ac:spMkLst>
        </pc:spChg>
        <pc:spChg chg="add mod">
          <ac:chgData name="Sergio Rolando Rodriguez Reyes" userId="bc7f949a-5d89-4772-8b57-7c66ececa47e" providerId="ADAL" clId="{FF4ABA53-1783-48DF-9D5F-FFFF0F624D71}" dt="2022-05-23T18:35:37.214" v="4612" actId="1076"/>
          <ac:spMkLst>
            <pc:docMk/>
            <pc:sldMk cId="1803758223" sldId="12961"/>
            <ac:spMk id="50" creationId="{49714A9D-9526-86BE-CAAA-489043D80EB9}"/>
          </ac:spMkLst>
        </pc:spChg>
        <pc:spChg chg="add mod">
          <ac:chgData name="Sergio Rolando Rodriguez Reyes" userId="bc7f949a-5d89-4772-8b57-7c66ececa47e" providerId="ADAL" clId="{FF4ABA53-1783-48DF-9D5F-FFFF0F624D71}" dt="2022-06-06T03:44:58.252" v="6128" actId="20577"/>
          <ac:spMkLst>
            <pc:docMk/>
            <pc:sldMk cId="1803758223" sldId="12961"/>
            <ac:spMk id="54" creationId="{F7753404-7B42-F67C-0144-C47178C808E8}"/>
          </ac:spMkLst>
        </pc:spChg>
        <pc:spChg chg="mod ord">
          <ac:chgData name="Sergio Rolando Rodriguez Reyes" userId="bc7f949a-5d89-4772-8b57-7c66ececa47e" providerId="ADAL" clId="{FF4ABA53-1783-48DF-9D5F-FFFF0F624D71}" dt="2022-05-23T13:50:53.171" v="707"/>
          <ac:spMkLst>
            <pc:docMk/>
            <pc:sldMk cId="1803758223" sldId="12961"/>
            <ac:spMk id="69" creationId="{518E84D7-E5E3-4A41-A3EC-6D94F4A9019A}"/>
          </ac:spMkLst>
        </pc:spChg>
        <pc:spChg chg="mod ord">
          <ac:chgData name="Sergio Rolando Rodriguez Reyes" userId="bc7f949a-5d89-4772-8b57-7c66ececa47e" providerId="ADAL" clId="{FF4ABA53-1783-48DF-9D5F-FFFF0F624D71}" dt="2022-05-23T13:55:45.615" v="984" actId="20577"/>
          <ac:spMkLst>
            <pc:docMk/>
            <pc:sldMk cId="1803758223" sldId="12961"/>
            <ac:spMk id="78" creationId="{AF103316-CD84-4344-9692-2ABAF864017E}"/>
          </ac:spMkLst>
        </pc:spChg>
        <pc:spChg chg="mod ord">
          <ac:chgData name="Sergio Rolando Rodriguez Reyes" userId="bc7f949a-5d89-4772-8b57-7c66ececa47e" providerId="ADAL" clId="{FF4ABA53-1783-48DF-9D5F-FFFF0F624D71}" dt="2022-05-23T18:37:25.674" v="4854" actId="14100"/>
          <ac:spMkLst>
            <pc:docMk/>
            <pc:sldMk cId="1803758223" sldId="12961"/>
            <ac:spMk id="79" creationId="{F3A86D86-A03E-4DB2-9DAA-74EB87BF62FA}"/>
          </ac:spMkLst>
        </pc:spChg>
        <pc:spChg chg="del">
          <ac:chgData name="Sergio Rolando Rodriguez Reyes" userId="bc7f949a-5d89-4772-8b57-7c66ececa47e" providerId="ADAL" clId="{FF4ABA53-1783-48DF-9D5F-FFFF0F624D71}" dt="2022-05-23T13:47:45.015" v="2" actId="478"/>
          <ac:spMkLst>
            <pc:docMk/>
            <pc:sldMk cId="1803758223" sldId="12961"/>
            <ac:spMk id="94" creationId="{5E9DF52F-400A-498B-AB1A-7F7AF3111EAE}"/>
          </ac:spMkLst>
        </pc:spChg>
        <pc:spChg chg="del">
          <ac:chgData name="Sergio Rolando Rodriguez Reyes" userId="bc7f949a-5d89-4772-8b57-7c66ececa47e" providerId="ADAL" clId="{FF4ABA53-1783-48DF-9D5F-FFFF0F624D71}" dt="2022-05-23T13:47:45.015" v="2" actId="478"/>
          <ac:spMkLst>
            <pc:docMk/>
            <pc:sldMk cId="1803758223" sldId="12961"/>
            <ac:spMk id="95" creationId="{470F943D-2AC9-42F1-9629-26FF2E9D9319}"/>
          </ac:spMkLst>
        </pc:spChg>
        <pc:spChg chg="del">
          <ac:chgData name="Sergio Rolando Rodriguez Reyes" userId="bc7f949a-5d89-4772-8b57-7c66ececa47e" providerId="ADAL" clId="{FF4ABA53-1783-48DF-9D5F-FFFF0F624D71}" dt="2022-05-23T13:47:54.246" v="5" actId="478"/>
          <ac:spMkLst>
            <pc:docMk/>
            <pc:sldMk cId="1803758223" sldId="12961"/>
            <ac:spMk id="96" creationId="{4809807B-B507-4E38-BDCC-3C1B907E6851}"/>
          </ac:spMkLst>
        </pc:spChg>
        <pc:spChg chg="del">
          <ac:chgData name="Sergio Rolando Rodriguez Reyes" userId="bc7f949a-5d89-4772-8b57-7c66ececa47e" providerId="ADAL" clId="{FF4ABA53-1783-48DF-9D5F-FFFF0F624D71}" dt="2022-05-23T13:47:56.327" v="6" actId="478"/>
          <ac:spMkLst>
            <pc:docMk/>
            <pc:sldMk cId="1803758223" sldId="12961"/>
            <ac:spMk id="99" creationId="{3439C81C-E8F3-44CA-82B7-AEADC9E3E6D7}"/>
          </ac:spMkLst>
        </pc:spChg>
        <pc:spChg chg="del">
          <ac:chgData name="Sergio Rolando Rodriguez Reyes" userId="bc7f949a-5d89-4772-8b57-7c66ececa47e" providerId="ADAL" clId="{FF4ABA53-1783-48DF-9D5F-FFFF0F624D71}" dt="2022-05-23T13:47:52.846" v="4" actId="478"/>
          <ac:spMkLst>
            <pc:docMk/>
            <pc:sldMk cId="1803758223" sldId="12961"/>
            <ac:spMk id="102" creationId="{E5F888AD-2A5E-4BCF-B596-738AC37C4577}"/>
          </ac:spMkLst>
        </pc:spChg>
        <pc:spChg chg="del">
          <ac:chgData name="Sergio Rolando Rodriguez Reyes" userId="bc7f949a-5d89-4772-8b57-7c66ececa47e" providerId="ADAL" clId="{FF4ABA53-1783-48DF-9D5F-FFFF0F624D71}" dt="2022-05-23T13:47:50.051" v="3" actId="478"/>
          <ac:spMkLst>
            <pc:docMk/>
            <pc:sldMk cId="1803758223" sldId="12961"/>
            <ac:spMk id="104" creationId="{465677D1-58F5-4571-90DC-CE18BB6CBCD9}"/>
          </ac:spMkLst>
        </pc:spChg>
        <pc:spChg chg="del">
          <ac:chgData name="Sergio Rolando Rodriguez Reyes" userId="bc7f949a-5d89-4772-8b57-7c66ececa47e" providerId="ADAL" clId="{FF4ABA53-1783-48DF-9D5F-FFFF0F624D71}" dt="2022-05-23T13:47:50.051" v="3" actId="478"/>
          <ac:spMkLst>
            <pc:docMk/>
            <pc:sldMk cId="1803758223" sldId="12961"/>
            <ac:spMk id="105" creationId="{28B1D258-4529-422D-9B88-3617B2330B14}"/>
          </ac:spMkLst>
        </pc:spChg>
        <pc:spChg chg="del">
          <ac:chgData name="Sergio Rolando Rodriguez Reyes" userId="bc7f949a-5d89-4772-8b57-7c66ececa47e" providerId="ADAL" clId="{FF4ABA53-1783-48DF-9D5F-FFFF0F624D71}" dt="2022-05-23T13:47:50.051" v="3" actId="478"/>
          <ac:spMkLst>
            <pc:docMk/>
            <pc:sldMk cId="1803758223" sldId="12961"/>
            <ac:spMk id="111" creationId="{282BE698-A6D0-48CC-8C30-B87356A5C545}"/>
          </ac:spMkLst>
        </pc:spChg>
        <pc:spChg chg="del">
          <ac:chgData name="Sergio Rolando Rodriguez Reyes" userId="bc7f949a-5d89-4772-8b57-7c66ececa47e" providerId="ADAL" clId="{FF4ABA53-1783-48DF-9D5F-FFFF0F624D71}" dt="2022-05-23T13:47:45.015" v="2" actId="478"/>
          <ac:spMkLst>
            <pc:docMk/>
            <pc:sldMk cId="1803758223" sldId="12961"/>
            <ac:spMk id="112" creationId="{8B7E3E3A-060E-4BF2-8351-937948C055A8}"/>
          </ac:spMkLst>
        </pc:spChg>
        <pc:spChg chg="del">
          <ac:chgData name="Sergio Rolando Rodriguez Reyes" userId="bc7f949a-5d89-4772-8b57-7c66ececa47e" providerId="ADAL" clId="{FF4ABA53-1783-48DF-9D5F-FFFF0F624D71}" dt="2022-05-23T13:47:50.051" v="3" actId="478"/>
          <ac:spMkLst>
            <pc:docMk/>
            <pc:sldMk cId="1803758223" sldId="12961"/>
            <ac:spMk id="120" creationId="{00000000-0000-0000-0000-000000000000}"/>
          </ac:spMkLst>
        </pc:spChg>
        <pc:spChg chg="mod ord">
          <ac:chgData name="Sergio Rolando Rodriguez Reyes" userId="bc7f949a-5d89-4772-8b57-7c66ececa47e" providerId="ADAL" clId="{FF4ABA53-1783-48DF-9D5F-FFFF0F624D71}" dt="2022-05-23T18:37:36.579" v="4857" actId="14100"/>
          <ac:spMkLst>
            <pc:docMk/>
            <pc:sldMk cId="1803758223" sldId="12961"/>
            <ac:spMk id="126" creationId="{2103E929-6C02-42E1-9565-89C0693D5680}"/>
          </ac:spMkLst>
        </pc:spChg>
        <pc:spChg chg="mod ord">
          <ac:chgData name="Sergio Rolando Rodriguez Reyes" userId="bc7f949a-5d89-4772-8b57-7c66ececa47e" providerId="ADAL" clId="{FF4ABA53-1783-48DF-9D5F-FFFF0F624D71}" dt="2022-05-23T13:50:53.169" v="703"/>
          <ac:spMkLst>
            <pc:docMk/>
            <pc:sldMk cId="1803758223" sldId="12961"/>
            <ac:spMk id="132" creationId="{A25C3FEF-5CBE-488F-AD63-0A2B5544D7D1}"/>
          </ac:spMkLst>
        </pc:spChg>
        <pc:spChg chg="mod ord">
          <ac:chgData name="Sergio Rolando Rodriguez Reyes" userId="bc7f949a-5d89-4772-8b57-7c66ececa47e" providerId="ADAL" clId="{FF4ABA53-1783-48DF-9D5F-FFFF0F624D71}" dt="2022-05-23T13:50:53.167" v="699"/>
          <ac:spMkLst>
            <pc:docMk/>
            <pc:sldMk cId="1803758223" sldId="12961"/>
            <ac:spMk id="300" creationId="{1047A3C1-28AE-4B47-B107-BA9D79388BBA}"/>
          </ac:spMkLst>
        </pc:spChg>
        <pc:graphicFrameChg chg="mod">
          <ac:chgData name="Sergio Rolando Rodriguez Reyes" userId="bc7f949a-5d89-4772-8b57-7c66ececa47e" providerId="ADAL" clId="{FF4ABA53-1783-48DF-9D5F-FFFF0F624D71}" dt="2022-06-06T03:39:40.083" v="6037"/>
          <ac:graphicFrameMkLst>
            <pc:docMk/>
            <pc:sldMk cId="1803758223" sldId="12961"/>
            <ac:graphicFrameMk id="7" creationId="{A7792A92-EF78-4DA8-8893-00AA5BE415BC}"/>
          </ac:graphicFrameMkLst>
        </pc:graphicFrameChg>
        <pc:picChg chg="add mod">
          <ac:chgData name="Sergio Rolando Rodriguez Reyes" userId="bc7f949a-5d89-4772-8b57-7c66ececa47e" providerId="ADAL" clId="{FF4ABA53-1783-48DF-9D5F-FFFF0F624D71}" dt="2022-05-23T13:55:33.864" v="964" actId="1076"/>
          <ac:picMkLst>
            <pc:docMk/>
            <pc:sldMk cId="1803758223" sldId="12961"/>
            <ac:picMk id="21" creationId="{6752C7E7-816F-0E56-884A-74B1E94F418D}"/>
          </ac:picMkLst>
        </pc:picChg>
        <pc:picChg chg="add mod">
          <ac:chgData name="Sergio Rolando Rodriguez Reyes" userId="bc7f949a-5d89-4772-8b57-7c66ececa47e" providerId="ADAL" clId="{FF4ABA53-1783-48DF-9D5F-FFFF0F624D71}" dt="2022-05-23T13:56:10.472" v="987" actId="1076"/>
          <ac:picMkLst>
            <pc:docMk/>
            <pc:sldMk cId="1803758223" sldId="12961"/>
            <ac:picMk id="23" creationId="{A350537D-0932-24AE-9F5B-9C5B08F5F3FB}"/>
          </ac:picMkLst>
        </pc:picChg>
        <pc:picChg chg="del mod ord">
          <ac:chgData name="Sergio Rolando Rodriguez Reyes" userId="bc7f949a-5d89-4772-8b57-7c66ececa47e" providerId="ADAL" clId="{FF4ABA53-1783-48DF-9D5F-FFFF0F624D71}" dt="2022-05-23T13:54:55.053" v="958" actId="478"/>
          <ac:picMkLst>
            <pc:docMk/>
            <pc:sldMk cId="1803758223" sldId="12961"/>
            <ac:picMk id="100" creationId="{2CEB4A94-26DE-4253-9036-59E64667992E}"/>
          </ac:picMkLst>
        </pc:picChg>
        <pc:picChg chg="del">
          <ac:chgData name="Sergio Rolando Rodriguez Reyes" userId="bc7f949a-5d89-4772-8b57-7c66ececa47e" providerId="ADAL" clId="{FF4ABA53-1783-48DF-9D5F-FFFF0F624D71}" dt="2022-05-23T13:47:50.051" v="3" actId="478"/>
          <ac:picMkLst>
            <pc:docMk/>
            <pc:sldMk cId="1803758223" sldId="12961"/>
            <ac:picMk id="106" creationId="{2C2607C7-274B-4031-A305-270337487396}"/>
          </ac:picMkLst>
        </pc:picChg>
        <pc:picChg chg="del">
          <ac:chgData name="Sergio Rolando Rodriguez Reyes" userId="bc7f949a-5d89-4772-8b57-7c66ececa47e" providerId="ADAL" clId="{FF4ABA53-1783-48DF-9D5F-FFFF0F624D71}" dt="2022-05-23T13:47:45.015" v="2" actId="478"/>
          <ac:picMkLst>
            <pc:docMk/>
            <pc:sldMk cId="1803758223" sldId="12961"/>
            <ac:picMk id="109" creationId="{89B6CE2B-9D1E-4544-9E50-5606C6711203}"/>
          </ac:picMkLst>
        </pc:picChg>
        <pc:picChg chg="del">
          <ac:chgData name="Sergio Rolando Rodriguez Reyes" userId="bc7f949a-5d89-4772-8b57-7c66ececa47e" providerId="ADAL" clId="{FF4ABA53-1783-48DF-9D5F-FFFF0F624D71}" dt="2022-05-23T13:47:45.015" v="2" actId="478"/>
          <ac:picMkLst>
            <pc:docMk/>
            <pc:sldMk cId="1803758223" sldId="12961"/>
            <ac:picMk id="110" creationId="{0A28E5F6-8542-453F-856F-4DB3454FADCC}"/>
          </ac:picMkLst>
        </pc:picChg>
        <pc:picChg chg="del">
          <ac:chgData name="Sergio Rolando Rodriguez Reyes" userId="bc7f949a-5d89-4772-8b57-7c66ececa47e" providerId="ADAL" clId="{FF4ABA53-1783-48DF-9D5F-FFFF0F624D71}" dt="2022-05-23T13:48:46.660" v="671" actId="478"/>
          <ac:picMkLst>
            <pc:docMk/>
            <pc:sldMk cId="1803758223" sldId="12961"/>
            <ac:picMk id="310" creationId="{C2042909-D713-4D15-9DF1-DDB293BF910E}"/>
          </ac:picMkLst>
        </pc:picChg>
        <pc:cxnChg chg="add mod ord">
          <ac:chgData name="Sergio Rolando Rodriguez Reyes" userId="bc7f949a-5d89-4772-8b57-7c66ececa47e" providerId="ADAL" clId="{FF4ABA53-1783-48DF-9D5F-FFFF0F624D71}" dt="2022-05-23T18:35:32.503" v="4611" actId="14100"/>
          <ac:cxnSpMkLst>
            <pc:docMk/>
            <pc:sldMk cId="1803758223" sldId="12961"/>
            <ac:cxnSpMk id="15" creationId="{7ACE99BD-AD24-1764-76D7-2B80D3BA06C6}"/>
          </ac:cxnSpMkLst>
        </pc:cxnChg>
        <pc:cxnChg chg="add mod ord">
          <ac:chgData name="Sergio Rolando Rodriguez Reyes" userId="bc7f949a-5d89-4772-8b57-7c66ececa47e" providerId="ADAL" clId="{FF4ABA53-1783-48DF-9D5F-FFFF0F624D71}" dt="2022-05-23T13:50:53.178" v="719"/>
          <ac:cxnSpMkLst>
            <pc:docMk/>
            <pc:sldMk cId="1803758223" sldId="12961"/>
            <ac:cxnSpMk id="17" creationId="{0D203D9F-80C0-B958-91D0-1BD58694A4A3}"/>
          </ac:cxnSpMkLst>
        </pc:cxnChg>
        <pc:cxnChg chg="del mod ord">
          <ac:chgData name="Sergio Rolando Rodriguez Reyes" userId="bc7f949a-5d89-4772-8b57-7c66ececa47e" providerId="ADAL" clId="{FF4ABA53-1783-48DF-9D5F-FFFF0F624D71}" dt="2022-05-23T13:55:24.570" v="961" actId="478"/>
          <ac:cxnSpMkLst>
            <pc:docMk/>
            <pc:sldMk cId="1803758223" sldId="12961"/>
            <ac:cxnSpMk id="313" creationId="{229C3FB9-7934-4C79-8B2B-3388CBCEFC5E}"/>
          </ac:cxnSpMkLst>
        </pc:cxnChg>
      </pc:sldChg>
      <pc:sldChg chg="addSp delSp modSp new add mod">
        <pc:chgData name="Sergio Rolando Rodriguez Reyes" userId="bc7f949a-5d89-4772-8b57-7c66ececa47e" providerId="ADAL" clId="{FF4ABA53-1783-48DF-9D5F-FFFF0F624D71}" dt="2022-05-30T19:57:23.066" v="5733" actId="122"/>
        <pc:sldMkLst>
          <pc:docMk/>
          <pc:sldMk cId="2045980876" sldId="12962"/>
        </pc:sldMkLst>
        <pc:spChg chg="mod ord">
          <ac:chgData name="Sergio Rolando Rodriguez Reyes" userId="bc7f949a-5d89-4772-8b57-7c66ececa47e" providerId="ADAL" clId="{FF4ABA53-1783-48DF-9D5F-FFFF0F624D71}" dt="2022-05-30T19:55:45.915" v="5576"/>
          <ac:spMkLst>
            <pc:docMk/>
            <pc:sldMk cId="2045980876" sldId="12962"/>
            <ac:spMk id="2" creationId="{381BEF0D-7757-E345-24BE-BEF77AFFB419}"/>
          </ac:spMkLst>
        </pc:spChg>
        <pc:spChg chg="del">
          <ac:chgData name="Sergio Rolando Rodriguez Reyes" userId="bc7f949a-5d89-4772-8b57-7c66ececa47e" providerId="ADAL" clId="{FF4ABA53-1783-48DF-9D5F-FFFF0F624D71}" dt="2022-05-23T13:48:57.268" v="675" actId="478"/>
          <ac:spMkLst>
            <pc:docMk/>
            <pc:sldMk cId="2045980876" sldId="12962"/>
            <ac:spMk id="3" creationId="{002E3082-C60C-1AD6-1701-A938DBEFDA62}"/>
          </ac:spMkLst>
        </pc:spChg>
        <pc:spChg chg="add mod ord">
          <ac:chgData name="Sergio Rolando Rodriguez Reyes" userId="bc7f949a-5d89-4772-8b57-7c66ececa47e" providerId="ADAL" clId="{FF4ABA53-1783-48DF-9D5F-FFFF0F624D71}" dt="2022-05-30T19:55:45.976" v="5614"/>
          <ac:spMkLst>
            <pc:docMk/>
            <pc:sldMk cId="2045980876" sldId="12962"/>
            <ac:spMk id="3" creationId="{D867C71E-B710-8E0D-D13E-7A4C140E5572}"/>
          </ac:spMkLst>
        </pc:spChg>
        <pc:spChg chg="add del mod modVis">
          <ac:chgData name="Sergio Rolando Rodriguez Reyes" userId="bc7f949a-5d89-4772-8b57-7c66ececa47e" providerId="ADAL" clId="{FF4ABA53-1783-48DF-9D5F-FFFF0F624D71}" dt="2022-05-30T19:55:45.979" v="5616"/>
          <ac:spMkLst>
            <pc:docMk/>
            <pc:sldMk cId="2045980876" sldId="12962"/>
            <ac:spMk id="4" creationId="{72B72DC8-EAE0-2DDB-FCA8-ECDDD1FE72F6}"/>
          </ac:spMkLst>
        </pc:spChg>
        <pc:spChg chg="del mod ord">
          <ac:chgData name="Sergio Rolando Rodriguez Reyes" userId="bc7f949a-5d89-4772-8b57-7c66ececa47e" providerId="ADAL" clId="{FF4ABA53-1783-48DF-9D5F-FFFF0F624D71}" dt="2022-05-23T14:01:33.050" v="2782" actId="478"/>
          <ac:spMkLst>
            <pc:docMk/>
            <pc:sldMk cId="2045980876" sldId="12962"/>
            <ac:spMk id="4" creationId="{A6CC0BD7-E46B-8AFC-8F70-55B8F86A03BB}"/>
          </ac:spMkLst>
        </pc:spChg>
        <pc:spChg chg="mod ord">
          <ac:chgData name="Sergio Rolando Rodriguez Reyes" userId="bc7f949a-5d89-4772-8b57-7c66ececa47e" providerId="ADAL" clId="{FF4ABA53-1783-48DF-9D5F-FFFF0F624D71}" dt="2022-05-30T19:55:45.917" v="5578"/>
          <ac:spMkLst>
            <pc:docMk/>
            <pc:sldMk cId="2045980876" sldId="12962"/>
            <ac:spMk id="5" creationId="{21C370D6-9C57-C4A3-D23B-B19C2D2D8E65}"/>
          </ac:spMkLst>
        </pc:spChg>
        <pc:spChg chg="mod ord">
          <ac:chgData name="Sergio Rolando Rodriguez Reyes" userId="bc7f949a-5d89-4772-8b57-7c66ececa47e" providerId="ADAL" clId="{FF4ABA53-1783-48DF-9D5F-FFFF0F624D71}" dt="2022-05-30T19:55:45.919" v="5580"/>
          <ac:spMkLst>
            <pc:docMk/>
            <pc:sldMk cId="2045980876" sldId="12962"/>
            <ac:spMk id="6" creationId="{67634BE5-5132-AC87-B785-6BD72335BA5D}"/>
          </ac:spMkLst>
        </pc:spChg>
        <pc:spChg chg="add mod ord">
          <ac:chgData name="Sergio Rolando Rodriguez Reyes" userId="bc7f949a-5d89-4772-8b57-7c66ececa47e" providerId="ADAL" clId="{FF4ABA53-1783-48DF-9D5F-FFFF0F624D71}" dt="2022-05-30T19:55:45.921" v="5582"/>
          <ac:spMkLst>
            <pc:docMk/>
            <pc:sldMk cId="2045980876" sldId="12962"/>
            <ac:spMk id="7" creationId="{95D1971B-90DF-5D85-C327-2417FC717E84}"/>
          </ac:spMkLst>
        </pc:spChg>
        <pc:spChg chg="add mod ord">
          <ac:chgData name="Sergio Rolando Rodriguez Reyes" userId="bc7f949a-5d89-4772-8b57-7c66ececa47e" providerId="ADAL" clId="{FF4ABA53-1783-48DF-9D5F-FFFF0F624D71}" dt="2022-05-30T19:55:45.923" v="5584"/>
          <ac:spMkLst>
            <pc:docMk/>
            <pc:sldMk cId="2045980876" sldId="12962"/>
            <ac:spMk id="8" creationId="{58290504-91D5-44DA-5436-8BF9EEB69957}"/>
          </ac:spMkLst>
        </pc:spChg>
        <pc:spChg chg="add mod">
          <ac:chgData name="Sergio Rolando Rodriguez Reyes" userId="bc7f949a-5d89-4772-8b57-7c66ececa47e" providerId="ADAL" clId="{FF4ABA53-1783-48DF-9D5F-FFFF0F624D71}" dt="2022-05-30T19:57:23.066" v="5733" actId="122"/>
          <ac:spMkLst>
            <pc:docMk/>
            <pc:sldMk cId="2045980876" sldId="12962"/>
            <ac:spMk id="9" creationId="{4E97DEB1-E367-4243-EB6B-8FB8BED5B1F4}"/>
          </ac:spMkLst>
        </pc:spChg>
        <pc:spChg chg="add del mod replST">
          <ac:chgData name="Sergio Rolando Rodriguez Reyes" userId="bc7f949a-5d89-4772-8b57-7c66ececa47e" providerId="ADAL" clId="{FF4ABA53-1783-48DF-9D5F-FFFF0F624D71}" dt="2022-05-23T14:04:34.769" v="3483"/>
          <ac:spMkLst>
            <pc:docMk/>
            <pc:sldMk cId="2045980876" sldId="12962"/>
            <ac:spMk id="10" creationId="{2E3BD9E4-DD7C-2279-E9B5-D80936FF2454}"/>
          </ac:spMkLst>
        </pc:spChg>
        <pc:spChg chg="add del mod replST">
          <ac:chgData name="Sergio Rolando Rodriguez Reyes" userId="bc7f949a-5d89-4772-8b57-7c66ececa47e" providerId="ADAL" clId="{FF4ABA53-1783-48DF-9D5F-FFFF0F624D71}" dt="2022-05-23T14:04:34.772" v="3487"/>
          <ac:spMkLst>
            <pc:docMk/>
            <pc:sldMk cId="2045980876" sldId="12962"/>
            <ac:spMk id="11" creationId="{89D2022C-3BF2-C3C3-12BC-56D3E6A64FD8}"/>
          </ac:spMkLst>
        </pc:spChg>
        <pc:spChg chg="add del mod replST">
          <ac:chgData name="Sergio Rolando Rodriguez Reyes" userId="bc7f949a-5d89-4772-8b57-7c66ececa47e" providerId="ADAL" clId="{FF4ABA53-1783-48DF-9D5F-FFFF0F624D71}" dt="2022-05-23T14:04:34.769" v="3484"/>
          <ac:spMkLst>
            <pc:docMk/>
            <pc:sldMk cId="2045980876" sldId="12962"/>
            <ac:spMk id="12" creationId="{6CB806FF-7838-519E-25CE-4AA253338F51}"/>
          </ac:spMkLst>
        </pc:spChg>
        <pc:spChg chg="add del mod replST">
          <ac:chgData name="Sergio Rolando Rodriguez Reyes" userId="bc7f949a-5d89-4772-8b57-7c66ececa47e" providerId="ADAL" clId="{FF4ABA53-1783-48DF-9D5F-FFFF0F624D71}" dt="2022-05-23T14:04:34.771" v="3486"/>
          <ac:spMkLst>
            <pc:docMk/>
            <pc:sldMk cId="2045980876" sldId="12962"/>
            <ac:spMk id="13" creationId="{980E1762-0726-D64E-4D7B-EB473CA0BAD9}"/>
          </ac:spMkLst>
        </pc:spChg>
        <pc:spChg chg="add del mod replST">
          <ac:chgData name="Sergio Rolando Rodriguez Reyes" userId="bc7f949a-5d89-4772-8b57-7c66ececa47e" providerId="ADAL" clId="{FF4ABA53-1783-48DF-9D5F-FFFF0F624D71}" dt="2022-05-23T14:04:34.773" v="3488"/>
          <ac:spMkLst>
            <pc:docMk/>
            <pc:sldMk cId="2045980876" sldId="12962"/>
            <ac:spMk id="14" creationId="{0052B874-CCAD-C108-A8DC-A95A17E2F0E4}"/>
          </ac:spMkLst>
        </pc:spChg>
        <pc:spChg chg="add del mod replST">
          <ac:chgData name="Sergio Rolando Rodriguez Reyes" userId="bc7f949a-5d89-4772-8b57-7c66ececa47e" providerId="ADAL" clId="{FF4ABA53-1783-48DF-9D5F-FFFF0F624D71}" dt="2022-05-23T14:04:34.768" v="3482"/>
          <ac:spMkLst>
            <pc:docMk/>
            <pc:sldMk cId="2045980876" sldId="12962"/>
            <ac:spMk id="15" creationId="{E8F2E4A7-5AD4-5134-0EA7-5791FFECD331}"/>
          </ac:spMkLst>
        </pc:spChg>
        <pc:spChg chg="add del mod replST">
          <ac:chgData name="Sergio Rolando Rodriguez Reyes" userId="bc7f949a-5d89-4772-8b57-7c66ececa47e" providerId="ADAL" clId="{FF4ABA53-1783-48DF-9D5F-FFFF0F624D71}" dt="2022-05-23T14:04:34.770" v="3485"/>
          <ac:spMkLst>
            <pc:docMk/>
            <pc:sldMk cId="2045980876" sldId="12962"/>
            <ac:spMk id="16" creationId="{0F357548-D35A-4A66-0E4C-28F9B2CAE990}"/>
          </ac:spMkLst>
        </pc:spChg>
        <pc:spChg chg="add del mod replST">
          <ac:chgData name="Sergio Rolando Rodriguez Reyes" userId="bc7f949a-5d89-4772-8b57-7c66ececa47e" providerId="ADAL" clId="{FF4ABA53-1783-48DF-9D5F-FFFF0F624D71}" dt="2022-05-23T14:04:10.363" v="2814"/>
          <ac:spMkLst>
            <pc:docMk/>
            <pc:sldMk cId="2045980876" sldId="12962"/>
            <ac:spMk id="17" creationId="{DB56076B-993C-F314-6E92-06596AF0E214}"/>
          </ac:spMkLst>
        </pc:spChg>
        <pc:spChg chg="add del mod replST">
          <ac:chgData name="Sergio Rolando Rodriguez Reyes" userId="bc7f949a-5d89-4772-8b57-7c66ececa47e" providerId="ADAL" clId="{FF4ABA53-1783-48DF-9D5F-FFFF0F624D71}" dt="2022-05-23T14:04:10.370" v="2820"/>
          <ac:spMkLst>
            <pc:docMk/>
            <pc:sldMk cId="2045980876" sldId="12962"/>
            <ac:spMk id="18" creationId="{647F2B33-4DB4-97A7-E5C9-331C4676DD61}"/>
          </ac:spMkLst>
        </pc:spChg>
        <pc:spChg chg="add del mod replST">
          <ac:chgData name="Sergio Rolando Rodriguez Reyes" userId="bc7f949a-5d89-4772-8b57-7c66ececa47e" providerId="ADAL" clId="{FF4ABA53-1783-48DF-9D5F-FFFF0F624D71}" dt="2022-05-23T14:04:10.369" v="2819"/>
          <ac:spMkLst>
            <pc:docMk/>
            <pc:sldMk cId="2045980876" sldId="12962"/>
            <ac:spMk id="19" creationId="{94158BBE-115C-5037-CB36-C245F00CB58B}"/>
          </ac:spMkLst>
        </pc:spChg>
        <pc:spChg chg="add mod replST">
          <ac:chgData name="Sergio Rolando Rodriguez Reyes" userId="bc7f949a-5d89-4772-8b57-7c66ececa47e" providerId="ADAL" clId="{FF4ABA53-1783-48DF-9D5F-FFFF0F624D71}" dt="2022-05-30T19:55:45.931" v="5588"/>
          <ac:spMkLst>
            <pc:docMk/>
            <pc:sldMk cId="2045980876" sldId="12962"/>
            <ac:spMk id="20" creationId="{1AC6F3C5-F42A-BFE0-5AC6-4511764D5B45}"/>
          </ac:spMkLst>
        </pc:spChg>
        <pc:spChg chg="add mod replST">
          <ac:chgData name="Sergio Rolando Rodriguez Reyes" userId="bc7f949a-5d89-4772-8b57-7c66ececa47e" providerId="ADAL" clId="{FF4ABA53-1783-48DF-9D5F-FFFF0F624D71}" dt="2022-05-30T19:55:45.933" v="5589"/>
          <ac:spMkLst>
            <pc:docMk/>
            <pc:sldMk cId="2045980876" sldId="12962"/>
            <ac:spMk id="21" creationId="{28AA1BCC-ACDA-A3ED-32D6-614A1507BB71}"/>
          </ac:spMkLst>
        </pc:spChg>
        <pc:spChg chg="add mod replST">
          <ac:chgData name="Sergio Rolando Rodriguez Reyes" userId="bc7f949a-5d89-4772-8b57-7c66ececa47e" providerId="ADAL" clId="{FF4ABA53-1783-48DF-9D5F-FFFF0F624D71}" dt="2022-05-30T19:55:45.934" v="5590"/>
          <ac:spMkLst>
            <pc:docMk/>
            <pc:sldMk cId="2045980876" sldId="12962"/>
            <ac:spMk id="22" creationId="{E87092FD-E29F-747C-D2A4-81E20E8E5DC1}"/>
          </ac:spMkLst>
        </pc:spChg>
        <pc:spChg chg="add mod replST">
          <ac:chgData name="Sergio Rolando Rodriguez Reyes" userId="bc7f949a-5d89-4772-8b57-7c66ececa47e" providerId="ADAL" clId="{FF4ABA53-1783-48DF-9D5F-FFFF0F624D71}" dt="2022-05-30T19:55:45.937" v="5591"/>
          <ac:spMkLst>
            <pc:docMk/>
            <pc:sldMk cId="2045980876" sldId="12962"/>
            <ac:spMk id="23" creationId="{F6808CD1-74B0-F6A5-5D75-D6460B384828}"/>
          </ac:spMkLst>
        </pc:spChg>
        <pc:spChg chg="add mod replST">
          <ac:chgData name="Sergio Rolando Rodriguez Reyes" userId="bc7f949a-5d89-4772-8b57-7c66ececa47e" providerId="ADAL" clId="{FF4ABA53-1783-48DF-9D5F-FFFF0F624D71}" dt="2022-05-30T19:55:45.939" v="5592"/>
          <ac:spMkLst>
            <pc:docMk/>
            <pc:sldMk cId="2045980876" sldId="12962"/>
            <ac:spMk id="24" creationId="{15E9E476-9526-5038-0EC4-3811C54D6135}"/>
          </ac:spMkLst>
        </pc:spChg>
        <pc:spChg chg="add mod replST">
          <ac:chgData name="Sergio Rolando Rodriguez Reyes" userId="bc7f949a-5d89-4772-8b57-7c66ececa47e" providerId="ADAL" clId="{FF4ABA53-1783-48DF-9D5F-FFFF0F624D71}" dt="2022-05-30T19:55:45.929" v="5587"/>
          <ac:spMkLst>
            <pc:docMk/>
            <pc:sldMk cId="2045980876" sldId="12962"/>
            <ac:spMk id="25" creationId="{8F88B414-D90A-7EBB-78AD-53355A4BDBC7}"/>
          </ac:spMkLst>
        </pc:spChg>
        <pc:spChg chg="add mod replST">
          <ac:chgData name="Sergio Rolando Rodriguez Reyes" userId="bc7f949a-5d89-4772-8b57-7c66ececa47e" providerId="ADAL" clId="{FF4ABA53-1783-48DF-9D5F-FFFF0F624D71}" dt="2022-05-30T19:55:45.940" v="5593"/>
          <ac:spMkLst>
            <pc:docMk/>
            <pc:sldMk cId="2045980876" sldId="12962"/>
            <ac:spMk id="26" creationId="{05D8F811-BFC4-C590-59BD-1DA1C6448121}"/>
          </ac:spMkLst>
        </pc:spChg>
        <pc:spChg chg="add mod replST">
          <ac:chgData name="Sergio Rolando Rodriguez Reyes" userId="bc7f949a-5d89-4772-8b57-7c66ececa47e" providerId="ADAL" clId="{FF4ABA53-1783-48DF-9D5F-FFFF0F624D71}" dt="2022-05-30T19:55:45.946" v="5596"/>
          <ac:spMkLst>
            <pc:docMk/>
            <pc:sldMk cId="2045980876" sldId="12962"/>
            <ac:spMk id="27" creationId="{61D3116D-ADAC-E589-4C7D-FB5D167CE008}"/>
          </ac:spMkLst>
        </pc:spChg>
        <pc:spChg chg="add mod replST">
          <ac:chgData name="Sergio Rolando Rodriguez Reyes" userId="bc7f949a-5d89-4772-8b57-7c66ececa47e" providerId="ADAL" clId="{FF4ABA53-1783-48DF-9D5F-FFFF0F624D71}" dt="2022-05-30T19:55:45.944" v="5595"/>
          <ac:spMkLst>
            <pc:docMk/>
            <pc:sldMk cId="2045980876" sldId="12962"/>
            <ac:spMk id="28" creationId="{E500F108-63ED-FFEF-E01B-0B4AE67DA46D}"/>
          </ac:spMkLst>
        </pc:spChg>
        <pc:spChg chg="add mod replST">
          <ac:chgData name="Sergio Rolando Rodriguez Reyes" userId="bc7f949a-5d89-4772-8b57-7c66ececa47e" providerId="ADAL" clId="{FF4ABA53-1783-48DF-9D5F-FFFF0F624D71}" dt="2022-05-30T19:55:45.948" v="5597"/>
          <ac:spMkLst>
            <pc:docMk/>
            <pc:sldMk cId="2045980876" sldId="12962"/>
            <ac:spMk id="29" creationId="{FA5AA8CC-01BC-AB64-18B3-017A6A01F9D6}"/>
          </ac:spMkLst>
        </pc:spChg>
        <pc:spChg chg="add mod replST">
          <ac:chgData name="Sergio Rolando Rodriguez Reyes" userId="bc7f949a-5d89-4772-8b57-7c66ececa47e" providerId="ADAL" clId="{FF4ABA53-1783-48DF-9D5F-FFFF0F624D71}" dt="2022-05-30T19:55:45.942" v="5594"/>
          <ac:spMkLst>
            <pc:docMk/>
            <pc:sldMk cId="2045980876" sldId="12962"/>
            <ac:spMk id="30" creationId="{0A51B8EC-6168-E8D9-E134-0071E7CDB960}"/>
          </ac:spMkLst>
        </pc:spChg>
        <pc:spChg chg="add mod replST">
          <ac:chgData name="Sergio Rolando Rodriguez Reyes" userId="bc7f949a-5d89-4772-8b57-7c66ececa47e" providerId="ADAL" clId="{FF4ABA53-1783-48DF-9D5F-FFFF0F624D71}" dt="2022-05-30T19:55:45.950" v="5598"/>
          <ac:spMkLst>
            <pc:docMk/>
            <pc:sldMk cId="2045980876" sldId="12962"/>
            <ac:spMk id="31" creationId="{424FF314-3F4A-C8DC-9FCA-B39A5E2EB60D}"/>
          </ac:spMkLst>
        </pc:spChg>
        <pc:spChg chg="add mod replST">
          <ac:chgData name="Sergio Rolando Rodriguez Reyes" userId="bc7f949a-5d89-4772-8b57-7c66ececa47e" providerId="ADAL" clId="{FF4ABA53-1783-48DF-9D5F-FFFF0F624D71}" dt="2022-05-30T19:55:45.959" v="5602"/>
          <ac:spMkLst>
            <pc:docMk/>
            <pc:sldMk cId="2045980876" sldId="12962"/>
            <ac:spMk id="32" creationId="{E341B19F-2676-9BF6-AEE3-333DEE157BE8}"/>
          </ac:spMkLst>
        </pc:spChg>
        <pc:spChg chg="add mod replST">
          <ac:chgData name="Sergio Rolando Rodriguez Reyes" userId="bc7f949a-5d89-4772-8b57-7c66ececa47e" providerId="ADAL" clId="{FF4ABA53-1783-48DF-9D5F-FFFF0F624D71}" dt="2022-05-30T19:55:45.952" v="5599"/>
          <ac:spMkLst>
            <pc:docMk/>
            <pc:sldMk cId="2045980876" sldId="12962"/>
            <ac:spMk id="33" creationId="{0C0BD416-3EC0-F996-0FA2-69CBB6658292}"/>
          </ac:spMkLst>
        </pc:spChg>
        <pc:spChg chg="add mod replST">
          <ac:chgData name="Sergio Rolando Rodriguez Reyes" userId="bc7f949a-5d89-4772-8b57-7c66ececa47e" providerId="ADAL" clId="{FF4ABA53-1783-48DF-9D5F-FFFF0F624D71}" dt="2022-05-30T19:55:45.954" v="5600"/>
          <ac:spMkLst>
            <pc:docMk/>
            <pc:sldMk cId="2045980876" sldId="12962"/>
            <ac:spMk id="34" creationId="{CB7809F4-994F-1C00-222C-14C1B4ABDBD6}"/>
          </ac:spMkLst>
        </pc:spChg>
        <pc:spChg chg="add mod replST">
          <ac:chgData name="Sergio Rolando Rodriguez Reyes" userId="bc7f949a-5d89-4772-8b57-7c66ececa47e" providerId="ADAL" clId="{FF4ABA53-1783-48DF-9D5F-FFFF0F624D71}" dt="2022-05-30T19:55:45.957" v="5601"/>
          <ac:spMkLst>
            <pc:docMk/>
            <pc:sldMk cId="2045980876" sldId="12962"/>
            <ac:spMk id="35" creationId="{91D812E4-2165-A725-F447-4074F2D8C0F5}"/>
          </ac:spMkLst>
        </pc:spChg>
        <pc:spChg chg="add mod replST">
          <ac:chgData name="Sergio Rolando Rodriguez Reyes" userId="bc7f949a-5d89-4772-8b57-7c66ececa47e" providerId="ADAL" clId="{FF4ABA53-1783-48DF-9D5F-FFFF0F624D71}" dt="2022-05-30T19:55:45.927" v="5586"/>
          <ac:spMkLst>
            <pc:docMk/>
            <pc:sldMk cId="2045980876" sldId="12962"/>
            <ac:spMk id="36" creationId="{C231A51E-A8FE-211C-A38C-FEF3A7C94CF3}"/>
          </ac:spMkLst>
        </pc:spChg>
        <pc:spChg chg="add mod replST">
          <ac:chgData name="Sergio Rolando Rodriguez Reyes" userId="bc7f949a-5d89-4772-8b57-7c66ececa47e" providerId="ADAL" clId="{FF4ABA53-1783-48DF-9D5F-FFFF0F624D71}" dt="2022-05-30T19:55:45.960" v="5603"/>
          <ac:spMkLst>
            <pc:docMk/>
            <pc:sldMk cId="2045980876" sldId="12962"/>
            <ac:spMk id="37" creationId="{6D9821B3-5BA2-84E7-4970-6E6C8A0CC284}"/>
          </ac:spMkLst>
        </pc:spChg>
        <pc:spChg chg="add mod replST">
          <ac:chgData name="Sergio Rolando Rodriguez Reyes" userId="bc7f949a-5d89-4772-8b57-7c66ececa47e" providerId="ADAL" clId="{FF4ABA53-1783-48DF-9D5F-FFFF0F624D71}" dt="2022-05-30T19:55:45.961" v="5604"/>
          <ac:spMkLst>
            <pc:docMk/>
            <pc:sldMk cId="2045980876" sldId="12962"/>
            <ac:spMk id="38" creationId="{3B4C8A10-312C-9977-AC11-A18FC2352021}"/>
          </ac:spMkLst>
        </pc:spChg>
        <pc:spChg chg="add del mod replST">
          <ac:chgData name="Sergio Rolando Rodriguez Reyes" userId="bc7f949a-5d89-4772-8b57-7c66ececa47e" providerId="ADAL" clId="{FF4ABA53-1783-48DF-9D5F-FFFF0F624D71}" dt="2022-05-23T14:04:10.360" v="2812"/>
          <ac:spMkLst>
            <pc:docMk/>
            <pc:sldMk cId="2045980876" sldId="12962"/>
            <ac:spMk id="39" creationId="{320DFB00-5F12-C2A2-3A15-7F32ED6F2529}"/>
          </ac:spMkLst>
        </pc:spChg>
        <pc:spChg chg="add mod replST">
          <ac:chgData name="Sergio Rolando Rodriguez Reyes" userId="bc7f949a-5d89-4772-8b57-7c66ececa47e" providerId="ADAL" clId="{FF4ABA53-1783-48DF-9D5F-FFFF0F624D71}" dt="2022-05-30T19:55:45.963" v="5605"/>
          <ac:spMkLst>
            <pc:docMk/>
            <pc:sldMk cId="2045980876" sldId="12962"/>
            <ac:spMk id="40" creationId="{ED530920-1A1A-4044-E31A-B9EC5839E63C}"/>
          </ac:spMkLst>
        </pc:spChg>
        <pc:spChg chg="add del mod replST">
          <ac:chgData name="Sergio Rolando Rodriguez Reyes" userId="bc7f949a-5d89-4772-8b57-7c66ececa47e" providerId="ADAL" clId="{FF4ABA53-1783-48DF-9D5F-FFFF0F624D71}" dt="2022-05-23T14:04:10.362" v="2813"/>
          <ac:spMkLst>
            <pc:docMk/>
            <pc:sldMk cId="2045980876" sldId="12962"/>
            <ac:spMk id="41" creationId="{E530431E-8090-D3F2-844B-5A430BD9C0E7}"/>
          </ac:spMkLst>
        </pc:spChg>
        <pc:spChg chg="add del mod replST">
          <ac:chgData name="Sergio Rolando Rodriguez Reyes" userId="bc7f949a-5d89-4772-8b57-7c66ececa47e" providerId="ADAL" clId="{FF4ABA53-1783-48DF-9D5F-FFFF0F624D71}" dt="2022-05-23T14:04:10.367" v="2817"/>
          <ac:spMkLst>
            <pc:docMk/>
            <pc:sldMk cId="2045980876" sldId="12962"/>
            <ac:spMk id="42" creationId="{F3BB0DFE-9B0B-8ECE-D22F-72E34F1FAA1F}"/>
          </ac:spMkLst>
        </pc:spChg>
        <pc:spChg chg="add del mod replST">
          <ac:chgData name="Sergio Rolando Rodriguez Reyes" userId="bc7f949a-5d89-4772-8b57-7c66ececa47e" providerId="ADAL" clId="{FF4ABA53-1783-48DF-9D5F-FFFF0F624D71}" dt="2022-05-23T14:04:10.368" v="2818"/>
          <ac:spMkLst>
            <pc:docMk/>
            <pc:sldMk cId="2045980876" sldId="12962"/>
            <ac:spMk id="43" creationId="{17CAB2EC-E347-6AB7-78F4-4D8AAE473D76}"/>
          </ac:spMkLst>
        </pc:spChg>
        <pc:spChg chg="add del mod replST">
          <ac:chgData name="Sergio Rolando Rodriguez Reyes" userId="bc7f949a-5d89-4772-8b57-7c66ececa47e" providerId="ADAL" clId="{FF4ABA53-1783-48DF-9D5F-FFFF0F624D71}" dt="2022-05-23T14:04:10.366" v="2816"/>
          <ac:spMkLst>
            <pc:docMk/>
            <pc:sldMk cId="2045980876" sldId="12962"/>
            <ac:spMk id="44" creationId="{15BF3240-475F-CFF2-5D2F-676E0C60F814}"/>
          </ac:spMkLst>
        </pc:spChg>
        <pc:spChg chg="add del mod replST">
          <ac:chgData name="Sergio Rolando Rodriguez Reyes" userId="bc7f949a-5d89-4772-8b57-7c66ececa47e" providerId="ADAL" clId="{FF4ABA53-1783-48DF-9D5F-FFFF0F624D71}" dt="2022-05-23T14:04:10.364" v="2815"/>
          <ac:spMkLst>
            <pc:docMk/>
            <pc:sldMk cId="2045980876" sldId="12962"/>
            <ac:spMk id="45" creationId="{DF52E95F-652E-2809-9A6C-04D5BC24272F}"/>
          </ac:spMkLst>
        </pc:spChg>
        <pc:spChg chg="add del mod replST">
          <ac:chgData name="Sergio Rolando Rodriguez Reyes" userId="bc7f949a-5d89-4772-8b57-7c66ececa47e" providerId="ADAL" clId="{FF4ABA53-1783-48DF-9D5F-FFFF0F624D71}" dt="2022-05-23T14:04:10.371" v="2821"/>
          <ac:spMkLst>
            <pc:docMk/>
            <pc:sldMk cId="2045980876" sldId="12962"/>
            <ac:spMk id="46" creationId="{24E28B01-3293-9542-1A8A-13FEEF27B2B9}"/>
          </ac:spMkLst>
        </pc:spChg>
        <pc:spChg chg="add mod replST">
          <ac:chgData name="Sergio Rolando Rodriguez Reyes" userId="bc7f949a-5d89-4772-8b57-7c66ececa47e" providerId="ADAL" clId="{FF4ABA53-1783-48DF-9D5F-FFFF0F624D71}" dt="2022-05-30T19:55:45.968" v="5608"/>
          <ac:spMkLst>
            <pc:docMk/>
            <pc:sldMk cId="2045980876" sldId="12962"/>
            <ac:spMk id="48" creationId="{B0F1988A-28DB-4409-F249-482D770779C6}"/>
          </ac:spMkLst>
        </pc:spChg>
        <pc:spChg chg="add mod replST">
          <ac:chgData name="Sergio Rolando Rodriguez Reyes" userId="bc7f949a-5d89-4772-8b57-7c66ececa47e" providerId="ADAL" clId="{FF4ABA53-1783-48DF-9D5F-FFFF0F624D71}" dt="2022-05-30T19:55:45.969" v="5609"/>
          <ac:spMkLst>
            <pc:docMk/>
            <pc:sldMk cId="2045980876" sldId="12962"/>
            <ac:spMk id="49" creationId="{DB3A6348-F53F-BBCB-9497-7E0023F05497}"/>
          </ac:spMkLst>
        </pc:spChg>
        <pc:spChg chg="add mod replST">
          <ac:chgData name="Sergio Rolando Rodriguez Reyes" userId="bc7f949a-5d89-4772-8b57-7c66ececa47e" providerId="ADAL" clId="{FF4ABA53-1783-48DF-9D5F-FFFF0F624D71}" dt="2022-05-30T19:55:45.971" v="5610"/>
          <ac:spMkLst>
            <pc:docMk/>
            <pc:sldMk cId="2045980876" sldId="12962"/>
            <ac:spMk id="50" creationId="{337B5A83-0CD2-2F4C-B2D4-97A11A87E843}"/>
          </ac:spMkLst>
        </pc:spChg>
        <pc:spChg chg="add del mod modVis">
          <ac:chgData name="Sergio Rolando Rodriguez Reyes" userId="bc7f949a-5d89-4772-8b57-7c66ececa47e" providerId="ADAL" clId="{FF4ABA53-1783-48DF-9D5F-FFFF0F624D71}" dt="2022-05-23T14:01:26.175" v="2412"/>
          <ac:spMkLst>
            <pc:docMk/>
            <pc:sldMk cId="2045980876" sldId="12962"/>
            <ac:spMk id="51" creationId="{24FC2B92-11D0-7526-6AD4-E40A5E491517}"/>
          </ac:spMkLst>
        </pc:spChg>
        <pc:spChg chg="add del mod modVis">
          <ac:chgData name="Sergio Rolando Rodriguez Reyes" userId="bc7f949a-5d89-4772-8b57-7c66ececa47e" providerId="ADAL" clId="{FF4ABA53-1783-48DF-9D5F-FFFF0F624D71}" dt="2022-05-23T14:01:30.761" v="2779"/>
          <ac:spMkLst>
            <pc:docMk/>
            <pc:sldMk cId="2045980876" sldId="12962"/>
            <ac:spMk id="54" creationId="{9A8F24C1-8E3C-2AC3-C3D9-0B9AFECC7708}"/>
          </ac:spMkLst>
        </pc:spChg>
        <pc:spChg chg="add mod ord">
          <ac:chgData name="Sergio Rolando Rodriguez Reyes" userId="bc7f949a-5d89-4772-8b57-7c66ececa47e" providerId="ADAL" clId="{FF4ABA53-1783-48DF-9D5F-FFFF0F624D71}" dt="2022-05-30T19:55:45.973" v="5612"/>
          <ac:spMkLst>
            <pc:docMk/>
            <pc:sldMk cId="2045980876" sldId="12962"/>
            <ac:spMk id="56" creationId="{5A1CF8EB-ABD0-D7FC-A432-D184143E736D}"/>
          </ac:spMkLst>
        </pc:spChg>
        <pc:spChg chg="add del mod modVis">
          <ac:chgData name="Sergio Rolando Rodriguez Reyes" userId="bc7f949a-5d89-4772-8b57-7c66ececa47e" providerId="ADAL" clId="{FF4ABA53-1783-48DF-9D5F-FFFF0F624D71}" dt="2022-05-23T14:04:10.598" v="2954"/>
          <ac:spMkLst>
            <pc:docMk/>
            <pc:sldMk cId="2045980876" sldId="12962"/>
            <ac:spMk id="57" creationId="{7AA44E51-515C-4807-901B-868DC1CE59C8}"/>
          </ac:spMkLst>
        </pc:spChg>
        <pc:spChg chg="add del mod modVis">
          <ac:chgData name="Sergio Rolando Rodriguez Reyes" userId="bc7f949a-5d89-4772-8b57-7c66ececa47e" providerId="ADAL" clId="{FF4ABA53-1783-48DF-9D5F-FFFF0F624D71}" dt="2022-05-23T14:04:23.003" v="3103"/>
          <ac:spMkLst>
            <pc:docMk/>
            <pc:sldMk cId="2045980876" sldId="12962"/>
            <ac:spMk id="59" creationId="{E871AFF3-83DF-0F15-5E26-D5FD51A880FA}"/>
          </ac:spMkLst>
        </pc:spChg>
        <pc:spChg chg="add del mod modVis">
          <ac:chgData name="Sergio Rolando Rodriguez Reyes" userId="bc7f949a-5d89-4772-8b57-7c66ececa47e" providerId="ADAL" clId="{FF4ABA53-1783-48DF-9D5F-FFFF0F624D71}" dt="2022-05-23T14:04:26.717" v="3252"/>
          <ac:spMkLst>
            <pc:docMk/>
            <pc:sldMk cId="2045980876" sldId="12962"/>
            <ac:spMk id="61" creationId="{2E6A6866-A5CC-6907-52ED-4B728EA3996F}"/>
          </ac:spMkLst>
        </pc:spChg>
        <pc:spChg chg="add del mod modVis">
          <ac:chgData name="Sergio Rolando Rodriguez Reyes" userId="bc7f949a-5d89-4772-8b57-7c66ececa47e" providerId="ADAL" clId="{FF4ABA53-1783-48DF-9D5F-FFFF0F624D71}" dt="2022-05-23T14:04:31.179" v="3467"/>
          <ac:spMkLst>
            <pc:docMk/>
            <pc:sldMk cId="2045980876" sldId="12962"/>
            <ac:spMk id="63" creationId="{70ADC441-71E5-99D5-3FC3-314165404522}"/>
          </ac:spMkLst>
        </pc:spChg>
        <pc:spChg chg="add del mod modVis">
          <ac:chgData name="Sergio Rolando Rodriguez Reyes" userId="bc7f949a-5d89-4772-8b57-7c66ececa47e" providerId="ADAL" clId="{FF4ABA53-1783-48DF-9D5F-FFFF0F624D71}" dt="2022-05-23T14:04:43.773" v="3616"/>
          <ac:spMkLst>
            <pc:docMk/>
            <pc:sldMk cId="2045980876" sldId="12962"/>
            <ac:spMk id="71" creationId="{A2746622-44EC-D469-2701-F20480CF2320}"/>
          </ac:spMkLst>
        </pc:spChg>
        <pc:spChg chg="add del mod modVis">
          <ac:chgData name="Sergio Rolando Rodriguez Reyes" userId="bc7f949a-5d89-4772-8b57-7c66ececa47e" providerId="ADAL" clId="{FF4ABA53-1783-48DF-9D5F-FFFF0F624D71}" dt="2022-05-23T14:04:52.688" v="3698"/>
          <ac:spMkLst>
            <pc:docMk/>
            <pc:sldMk cId="2045980876" sldId="12962"/>
            <ac:spMk id="72" creationId="{252C618B-3933-F14E-2263-2873F28FEEA3}"/>
          </ac:spMkLst>
        </pc:spChg>
        <pc:spChg chg="add del mod modVis">
          <ac:chgData name="Sergio Rolando Rodriguez Reyes" userId="bc7f949a-5d89-4772-8b57-7c66ececa47e" providerId="ADAL" clId="{FF4ABA53-1783-48DF-9D5F-FFFF0F624D71}" dt="2022-05-23T14:04:53.298" v="3743"/>
          <ac:spMkLst>
            <pc:docMk/>
            <pc:sldMk cId="2045980876" sldId="12962"/>
            <ac:spMk id="73" creationId="{F1EE10DE-C00B-0097-7313-C1BCA4FCEFDC}"/>
          </ac:spMkLst>
        </pc:spChg>
        <pc:spChg chg="add del mod modVis">
          <ac:chgData name="Sergio Rolando Rodriguez Reyes" userId="bc7f949a-5d89-4772-8b57-7c66ececa47e" providerId="ADAL" clId="{FF4ABA53-1783-48DF-9D5F-FFFF0F624D71}" dt="2022-05-23T14:04:53.931" v="3788"/>
          <ac:spMkLst>
            <pc:docMk/>
            <pc:sldMk cId="2045980876" sldId="12962"/>
            <ac:spMk id="74" creationId="{5EE8A7AC-6410-16BA-F7DA-39CE76B9C331}"/>
          </ac:spMkLst>
        </pc:spChg>
        <pc:spChg chg="add del mod modVis">
          <ac:chgData name="Sergio Rolando Rodriguez Reyes" userId="bc7f949a-5d89-4772-8b57-7c66ececa47e" providerId="ADAL" clId="{FF4ABA53-1783-48DF-9D5F-FFFF0F624D71}" dt="2022-05-23T14:04:54.920" v="3837"/>
          <ac:spMkLst>
            <pc:docMk/>
            <pc:sldMk cId="2045980876" sldId="12962"/>
            <ac:spMk id="75" creationId="{C8E79A41-BCE4-CF11-3C39-F1D1D968593A}"/>
          </ac:spMkLst>
        </pc:spChg>
        <pc:spChg chg="add del mod modVis">
          <ac:chgData name="Sergio Rolando Rodriguez Reyes" userId="bc7f949a-5d89-4772-8b57-7c66ececa47e" providerId="ADAL" clId="{FF4ABA53-1783-48DF-9D5F-FFFF0F624D71}" dt="2022-05-23T14:04:57.564" v="3886"/>
          <ac:spMkLst>
            <pc:docMk/>
            <pc:sldMk cId="2045980876" sldId="12962"/>
            <ac:spMk id="76" creationId="{A062FE52-9B76-0D4B-BBC2-5FA5B4DE98B7}"/>
          </ac:spMkLst>
        </pc:spChg>
        <pc:spChg chg="add del mod modVis">
          <ac:chgData name="Sergio Rolando Rodriguez Reyes" userId="bc7f949a-5d89-4772-8b57-7c66ececa47e" providerId="ADAL" clId="{FF4ABA53-1783-48DF-9D5F-FFFF0F624D71}" dt="2022-05-23T14:05:03.592" v="3954"/>
          <ac:spMkLst>
            <pc:docMk/>
            <pc:sldMk cId="2045980876" sldId="12962"/>
            <ac:spMk id="77" creationId="{79316303-777E-389B-23CB-25E5557D1D6D}"/>
          </ac:spMkLst>
        </pc:spChg>
        <pc:spChg chg="add del mod modVis">
          <ac:chgData name="Sergio Rolando Rodriguez Reyes" userId="bc7f949a-5d89-4772-8b57-7c66ececa47e" providerId="ADAL" clId="{FF4ABA53-1783-48DF-9D5F-FFFF0F624D71}" dt="2022-05-23T14:05:06.710" v="4002"/>
          <ac:spMkLst>
            <pc:docMk/>
            <pc:sldMk cId="2045980876" sldId="12962"/>
            <ac:spMk id="78" creationId="{B72EEBEE-D550-93AF-8C19-7263FCF2DA3D}"/>
          </ac:spMkLst>
        </pc:spChg>
        <pc:spChg chg="add del mod modVis">
          <ac:chgData name="Sergio Rolando Rodriguez Reyes" userId="bc7f949a-5d89-4772-8b57-7c66ececa47e" providerId="ADAL" clId="{FF4ABA53-1783-48DF-9D5F-FFFF0F624D71}" dt="2022-05-23T14:05:20.539" v="4058"/>
          <ac:spMkLst>
            <pc:docMk/>
            <pc:sldMk cId="2045980876" sldId="12962"/>
            <ac:spMk id="79" creationId="{548A89DF-5029-CC4D-5564-073C52B4DE4C}"/>
          </ac:spMkLst>
        </pc:spChg>
        <pc:spChg chg="add del mod modVis">
          <ac:chgData name="Sergio Rolando Rodriguez Reyes" userId="bc7f949a-5d89-4772-8b57-7c66ececa47e" providerId="ADAL" clId="{FF4ABA53-1783-48DF-9D5F-FFFF0F624D71}" dt="2022-05-23T14:05:21.515" v="4106"/>
          <ac:spMkLst>
            <pc:docMk/>
            <pc:sldMk cId="2045980876" sldId="12962"/>
            <ac:spMk id="80" creationId="{D66BFA98-685D-8D42-CC4D-1102A78176A7}"/>
          </ac:spMkLst>
        </pc:spChg>
        <pc:spChg chg="add del mod modVis">
          <ac:chgData name="Sergio Rolando Rodriguez Reyes" userId="bc7f949a-5d89-4772-8b57-7c66ececa47e" providerId="ADAL" clId="{FF4ABA53-1783-48DF-9D5F-FFFF0F624D71}" dt="2022-05-23T14:05:25.111" v="4151"/>
          <ac:spMkLst>
            <pc:docMk/>
            <pc:sldMk cId="2045980876" sldId="12962"/>
            <ac:spMk id="81" creationId="{B9E2FE67-2F7D-D393-297C-EBE00137D7AB}"/>
          </ac:spMkLst>
        </pc:spChg>
        <pc:graphicFrameChg chg="add del mod replST">
          <ac:chgData name="Sergio Rolando Rodriguez Reyes" userId="bc7f949a-5d89-4772-8b57-7c66ececa47e" providerId="ADAL" clId="{FF4ABA53-1783-48DF-9D5F-FFFF0F624D71}" dt="2022-05-23T14:01:26.067" v="2337"/>
          <ac:graphicFrameMkLst>
            <pc:docMk/>
            <pc:sldMk cId="2045980876" sldId="12962"/>
            <ac:graphicFrameMk id="9" creationId="{EC86D58B-B5BE-85DB-1743-9E29F0B4AE82}"/>
          </ac:graphicFrameMkLst>
        </pc:graphicFrameChg>
        <pc:graphicFrameChg chg="add mod replST">
          <ac:chgData name="Sergio Rolando Rodriguez Reyes" userId="bc7f949a-5d89-4772-8b57-7c66ececa47e" providerId="ADAL" clId="{FF4ABA53-1783-48DF-9D5F-FFFF0F624D71}" dt="2022-05-30T19:55:45.925" v="5585"/>
          <ac:graphicFrameMkLst>
            <pc:docMk/>
            <pc:sldMk cId="2045980876" sldId="12962"/>
            <ac:graphicFrameMk id="39" creationId="{D8BC7241-190A-C9B2-B9FE-057DB0654E14}"/>
          </ac:graphicFrameMkLst>
        </pc:graphicFrameChg>
        <pc:graphicFrameChg chg="add del mod replST">
          <ac:chgData name="Sergio Rolando Rodriguez Reyes" userId="bc7f949a-5d89-4772-8b57-7c66ececa47e" providerId="ADAL" clId="{FF4ABA53-1783-48DF-9D5F-FFFF0F624D71}" dt="2022-05-23T14:01:30.651" v="2684"/>
          <ac:graphicFrameMkLst>
            <pc:docMk/>
            <pc:sldMk cId="2045980876" sldId="12962"/>
            <ac:graphicFrameMk id="52" creationId="{E87543CA-6BC5-FB3B-D497-9DB1E95FE328}"/>
          </ac:graphicFrameMkLst>
        </pc:graphicFrameChg>
        <pc:graphicFrameChg chg="add mod ord modVis replST">
          <ac:chgData name="Sergio Rolando Rodriguez Reyes" userId="bc7f949a-5d89-4772-8b57-7c66ececa47e" providerId="ADAL" clId="{FF4ABA53-1783-48DF-9D5F-FFFF0F624D71}" dt="2022-05-30T19:55:46.009" v="5618"/>
          <ac:graphicFrameMkLst>
            <pc:docMk/>
            <pc:sldMk cId="2045980876" sldId="12962"/>
            <ac:graphicFrameMk id="53" creationId="{A8EEB9CF-B96D-531D-45DE-15F89FE1365E}"/>
          </ac:graphicFrameMkLst>
        </pc:graphicFrameChg>
        <pc:graphicFrameChg chg="add del mod replST">
          <ac:chgData name="Sergio Rolando Rodriguez Reyes" userId="bc7f949a-5d89-4772-8b57-7c66ececa47e" providerId="ADAL" clId="{FF4ABA53-1783-48DF-9D5F-FFFF0F624D71}" dt="2022-05-23T14:04:10.531" v="2901"/>
          <ac:graphicFrameMkLst>
            <pc:docMk/>
            <pc:sldMk cId="2045980876" sldId="12962"/>
            <ac:graphicFrameMk id="55" creationId="{2B86A938-0E60-A9EA-9F12-2DC3D0E884D7}"/>
          </ac:graphicFrameMkLst>
        </pc:graphicFrameChg>
        <pc:graphicFrameChg chg="add del mod replST">
          <ac:chgData name="Sergio Rolando Rodriguez Reyes" userId="bc7f949a-5d89-4772-8b57-7c66ececa47e" providerId="ADAL" clId="{FF4ABA53-1783-48DF-9D5F-FFFF0F624D71}" dt="2022-05-23T14:04:22.931" v="3050"/>
          <ac:graphicFrameMkLst>
            <pc:docMk/>
            <pc:sldMk cId="2045980876" sldId="12962"/>
            <ac:graphicFrameMk id="58" creationId="{A717A3B9-5315-979B-3CAA-5DBEC3262263}"/>
          </ac:graphicFrameMkLst>
        </pc:graphicFrameChg>
        <pc:graphicFrameChg chg="add del mod replST">
          <ac:chgData name="Sergio Rolando Rodriguez Reyes" userId="bc7f949a-5d89-4772-8b57-7c66ececa47e" providerId="ADAL" clId="{FF4ABA53-1783-48DF-9D5F-FFFF0F624D71}" dt="2022-05-23T14:04:26.649" v="3199"/>
          <ac:graphicFrameMkLst>
            <pc:docMk/>
            <pc:sldMk cId="2045980876" sldId="12962"/>
            <ac:graphicFrameMk id="60" creationId="{2A3E3984-6609-40ED-D249-6A83E46A6DC8}"/>
          </ac:graphicFrameMkLst>
        </pc:graphicFrameChg>
        <pc:graphicFrameChg chg="add del mod replST">
          <ac:chgData name="Sergio Rolando Rodriguez Reyes" userId="bc7f949a-5d89-4772-8b57-7c66ececa47e" providerId="ADAL" clId="{FF4ABA53-1783-48DF-9D5F-FFFF0F624D71}" dt="2022-05-23T14:04:31.111" v="3404"/>
          <ac:graphicFrameMkLst>
            <pc:docMk/>
            <pc:sldMk cId="2045980876" sldId="12962"/>
            <ac:graphicFrameMk id="62" creationId="{3C705DDB-3871-D891-2AAE-457343975CAB}"/>
          </ac:graphicFrameMkLst>
        </pc:graphicFrameChg>
        <pc:graphicFrameChg chg="add del mod replST">
          <ac:chgData name="Sergio Rolando Rodriguez Reyes" userId="bc7f949a-5d89-4772-8b57-7c66ececa47e" providerId="ADAL" clId="{FF4ABA53-1783-48DF-9D5F-FFFF0F624D71}" dt="2022-05-23T14:04:34.816" v="3524"/>
          <ac:graphicFrameMkLst>
            <pc:docMk/>
            <pc:sldMk cId="2045980876" sldId="12962"/>
            <ac:graphicFrameMk id="69" creationId="{98F7C2BB-A5AE-6D42-61C1-9D0EA3B40339}"/>
          </ac:graphicFrameMkLst>
        </pc:graphicFrameChg>
        <pc:graphicFrameChg chg="add del mod replST">
          <ac:chgData name="Sergio Rolando Rodriguez Reyes" userId="bc7f949a-5d89-4772-8b57-7c66ececa47e" providerId="ADAL" clId="{FF4ABA53-1783-48DF-9D5F-FFFF0F624D71}" dt="2022-05-30T19:55:45.795" v="5554"/>
          <ac:graphicFrameMkLst>
            <pc:docMk/>
            <pc:sldMk cId="2045980876" sldId="12962"/>
            <ac:graphicFrameMk id="70" creationId="{F3645F4D-F0BB-EA16-D2BD-AACE0557D34E}"/>
          </ac:graphicFrameMkLst>
        </pc:graphicFrameChg>
        <pc:cxnChg chg="add mod ord replST">
          <ac:chgData name="Sergio Rolando Rodriguez Reyes" userId="bc7f949a-5d89-4772-8b57-7c66ececa47e" providerId="ADAL" clId="{FF4ABA53-1783-48DF-9D5F-FFFF0F624D71}" dt="2022-05-30T19:55:45.966" v="5607"/>
          <ac:cxnSpMkLst>
            <pc:docMk/>
            <pc:sldMk cId="2045980876" sldId="12962"/>
            <ac:cxnSpMk id="47" creationId="{BDDC1D7F-3481-23E8-FB3C-E37D38BB0289}"/>
          </ac:cxnSpMkLst>
        </pc:cxnChg>
        <pc:cxnChg chg="add del mod ord replST">
          <ac:chgData name="Sergio Rolando Rodriguez Reyes" userId="bc7f949a-5d89-4772-8b57-7c66ececa47e" providerId="ADAL" clId="{FF4ABA53-1783-48DF-9D5F-FFFF0F624D71}" dt="2022-05-23T14:04:34.751" v="3471"/>
          <ac:cxnSpMkLst>
            <pc:docMk/>
            <pc:sldMk cId="2045980876" sldId="12962"/>
            <ac:cxnSpMk id="64" creationId="{011C2FE4-2387-C7E0-5375-B9577F0C8779}"/>
          </ac:cxnSpMkLst>
        </pc:cxnChg>
        <pc:cxnChg chg="add del mod ord replST">
          <ac:chgData name="Sergio Rolando Rodriguez Reyes" userId="bc7f949a-5d89-4772-8b57-7c66ececa47e" providerId="ADAL" clId="{FF4ABA53-1783-48DF-9D5F-FFFF0F624D71}" dt="2022-05-23T14:04:34.753" v="3473"/>
          <ac:cxnSpMkLst>
            <pc:docMk/>
            <pc:sldMk cId="2045980876" sldId="12962"/>
            <ac:cxnSpMk id="65" creationId="{4AEA853E-5E46-DDD9-5A20-577F9BEE48E6}"/>
          </ac:cxnSpMkLst>
        </pc:cxnChg>
        <pc:cxnChg chg="add del mod ord replST">
          <ac:chgData name="Sergio Rolando Rodriguez Reyes" userId="bc7f949a-5d89-4772-8b57-7c66ececa47e" providerId="ADAL" clId="{FF4ABA53-1783-48DF-9D5F-FFFF0F624D71}" dt="2022-05-23T14:04:34.756" v="3477"/>
          <ac:cxnSpMkLst>
            <pc:docMk/>
            <pc:sldMk cId="2045980876" sldId="12962"/>
            <ac:cxnSpMk id="66" creationId="{6BFE7681-6E67-3B8A-2907-67EE328998CA}"/>
          </ac:cxnSpMkLst>
        </pc:cxnChg>
        <pc:cxnChg chg="add del mod ord replST">
          <ac:chgData name="Sergio Rolando Rodriguez Reyes" userId="bc7f949a-5d89-4772-8b57-7c66ececa47e" providerId="ADAL" clId="{FF4ABA53-1783-48DF-9D5F-FFFF0F624D71}" dt="2022-05-23T14:04:34.754" v="3475"/>
          <ac:cxnSpMkLst>
            <pc:docMk/>
            <pc:sldMk cId="2045980876" sldId="12962"/>
            <ac:cxnSpMk id="67" creationId="{06FB5E2C-4FE7-0FE4-0978-A0F679820479}"/>
          </ac:cxnSpMkLst>
        </pc:cxnChg>
        <pc:cxnChg chg="add del mod ord replST">
          <ac:chgData name="Sergio Rolando Rodriguez Reyes" userId="bc7f949a-5d89-4772-8b57-7c66ececa47e" providerId="ADAL" clId="{FF4ABA53-1783-48DF-9D5F-FFFF0F624D71}" dt="2022-05-23T14:04:34.757" v="3479"/>
          <ac:cxnSpMkLst>
            <pc:docMk/>
            <pc:sldMk cId="2045980876" sldId="12962"/>
            <ac:cxnSpMk id="68" creationId="{F58406BF-A963-CCC0-6258-05846AB0D6B6}"/>
          </ac:cxnSpMkLst>
        </pc:cxnChg>
      </pc:sldChg>
      <pc:sldChg chg="del">
        <pc:chgData name="Sergio Rolando Rodriguez Reyes" userId="bc7f949a-5d89-4772-8b57-7c66ececa47e" providerId="ADAL" clId="{FF4ABA53-1783-48DF-9D5F-FFFF0F624D71}" dt="2022-05-23T13:47:30.896" v="0" actId="47"/>
        <pc:sldMkLst>
          <pc:docMk/>
          <pc:sldMk cId="2573159229" sldId="2145705415"/>
        </pc:sldMkLst>
      </pc:sldChg>
      <pc:sldChg chg="del">
        <pc:chgData name="Sergio Rolando Rodriguez Reyes" userId="bc7f949a-5d89-4772-8b57-7c66ececa47e" providerId="ADAL" clId="{FF4ABA53-1783-48DF-9D5F-FFFF0F624D71}" dt="2022-05-23T13:47:30.896" v="0" actId="47"/>
        <pc:sldMkLst>
          <pc:docMk/>
          <pc:sldMk cId="647767105" sldId="2145705416"/>
        </pc:sldMkLst>
      </pc:sldChg>
      <pc:sldChg chg="del">
        <pc:chgData name="Sergio Rolando Rodriguez Reyes" userId="bc7f949a-5d89-4772-8b57-7c66ececa47e" providerId="ADAL" clId="{FF4ABA53-1783-48DF-9D5F-FFFF0F624D71}" dt="2022-05-23T13:47:30.896" v="0" actId="47"/>
        <pc:sldMkLst>
          <pc:docMk/>
          <pc:sldMk cId="2102522511" sldId="2145705417"/>
        </pc:sldMkLst>
      </pc:sldChg>
      <pc:sldChg chg="del">
        <pc:chgData name="Sergio Rolando Rodriguez Reyes" userId="bc7f949a-5d89-4772-8b57-7c66ececa47e" providerId="ADAL" clId="{FF4ABA53-1783-48DF-9D5F-FFFF0F624D71}" dt="2022-05-23T13:47:30.896" v="0" actId="47"/>
        <pc:sldMkLst>
          <pc:docMk/>
          <pc:sldMk cId="3787842541" sldId="2145705419"/>
        </pc:sldMkLst>
      </pc:sldChg>
      <pc:sldChg chg="del">
        <pc:chgData name="Sergio Rolando Rodriguez Reyes" userId="bc7f949a-5d89-4772-8b57-7c66ececa47e" providerId="ADAL" clId="{FF4ABA53-1783-48DF-9D5F-FFFF0F624D71}" dt="2022-05-23T13:47:30.896" v="0" actId="47"/>
        <pc:sldMkLst>
          <pc:docMk/>
          <pc:sldMk cId="519337687" sldId="2145705420"/>
        </pc:sldMkLst>
      </pc:sldChg>
      <pc:sldChg chg="del">
        <pc:chgData name="Sergio Rolando Rodriguez Reyes" userId="bc7f949a-5d89-4772-8b57-7c66ececa47e" providerId="ADAL" clId="{FF4ABA53-1783-48DF-9D5F-FFFF0F624D71}" dt="2022-05-23T13:47:30.896" v="0" actId="47"/>
        <pc:sldMkLst>
          <pc:docMk/>
          <pc:sldMk cId="79718598" sldId="2145705421"/>
        </pc:sldMkLst>
      </pc:sldChg>
      <pc:sldMasterChg chg="delSldLayout">
        <pc:chgData name="Sergio Rolando Rodriguez Reyes" userId="bc7f949a-5d89-4772-8b57-7c66ececa47e" providerId="ADAL" clId="{FF4ABA53-1783-48DF-9D5F-FFFF0F624D71}" dt="2022-05-23T13:47:30.896" v="0" actId="47"/>
        <pc:sldMasterMkLst>
          <pc:docMk/>
          <pc:sldMasterMk cId="2842742067" sldId="2147483826"/>
        </pc:sldMasterMkLst>
        <pc:sldLayoutChg chg="del">
          <pc:chgData name="Sergio Rolando Rodriguez Reyes" userId="bc7f949a-5d89-4772-8b57-7c66ececa47e" providerId="ADAL" clId="{FF4ABA53-1783-48DF-9D5F-FFFF0F624D71}" dt="2022-05-23T13:47:30.896" v="0" actId="47"/>
          <pc:sldLayoutMkLst>
            <pc:docMk/>
            <pc:sldMasterMk cId="2842742067" sldId="2147483826"/>
            <pc:sldLayoutMk cId="1841066842" sldId="2147483855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8586030664395236E-3"/>
          <c:y val="2.1766429468396818E-2"/>
          <c:w val="0.95962521294718905"/>
          <c:h val="0.95646714106320641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C0C0C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3.5093696763202724E-2"/>
                  <c:y val="1.255755546253662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MX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8BF-4527-9906-E28B30F603DD}"/>
                </c:ext>
              </c:extLst>
            </c:dLbl>
            <c:dLbl>
              <c:idx val="1"/>
              <c:layout>
                <c:manualLayout>
                  <c:x val="1.2606473594548553E-2"/>
                  <c:y val="1.255755546253662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MX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8BF-4527-9906-E28B30F603D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3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8BF-4527-9906-E28B30F603DD}"/>
            </c:ext>
          </c:extLst>
        </c:ser>
        <c:ser>
          <c:idx val="1"/>
          <c:order val="1"/>
          <c:spPr>
            <a:solidFill>
              <a:srgbClr val="80808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21942078364565587"/>
                  <c:y val="1.255755546253662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MX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8BF-4527-9906-E28B30F603DD}"/>
                </c:ext>
              </c:extLst>
            </c:dLbl>
            <c:dLbl>
              <c:idx val="1"/>
              <c:layout>
                <c:manualLayout>
                  <c:x val="0.11362862010221465"/>
                  <c:y val="1.255755546253662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MX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E8BF-4527-9906-E28B30F603DD}"/>
                </c:ext>
              </c:extLst>
            </c:dLbl>
            <c:dLbl>
              <c:idx val="2"/>
              <c:layout>
                <c:manualLayout>
                  <c:x val="5.9625212947189095E-2"/>
                  <c:y val="1.255755546253662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MX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8BF-4527-9906-E28B30F603DD}"/>
                </c:ext>
              </c:extLst>
            </c:dLbl>
            <c:dLbl>
              <c:idx val="3"/>
              <c:layout>
                <c:manualLayout>
                  <c:x val="2.708688245315162E-2"/>
                  <c:y val="1.255755546253662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MX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8BF-4527-9906-E28B30F603D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25</c:v>
                </c:pt>
                <c:pt idx="1">
                  <c:v>12</c:v>
                </c:pt>
                <c:pt idx="2">
                  <c:v>6</c:v>
                </c:pt>
                <c:pt idx="3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8BF-4527-9906-E28B30F603DD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9574105621805792"/>
                  <c:y val="1.255755546253662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MX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E8BF-4527-9906-E28B30F603DD}"/>
                </c:ext>
              </c:extLst>
            </c:dLbl>
            <c:dLbl>
              <c:idx val="1"/>
              <c:layout>
                <c:manualLayout>
                  <c:x val="0.25195911413969335"/>
                  <c:y val="1.255755546253662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MX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E8BF-4527-9906-E28B30F603DD}"/>
                </c:ext>
              </c:extLst>
            </c:dLbl>
            <c:dLbl>
              <c:idx val="2"/>
              <c:layout>
                <c:manualLayout>
                  <c:x val="0.12998296422487224"/>
                  <c:y val="1.255755546253662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MX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E8BF-4527-9906-E28B30F603DD}"/>
                </c:ext>
              </c:extLst>
            </c:dLbl>
            <c:dLbl>
              <c:idx val="3"/>
              <c:layout>
                <c:manualLayout>
                  <c:x val="6.7632027257240199E-2"/>
                  <c:y val="1.255755546253662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MX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E8BF-4527-9906-E28B30F603D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59</c:v>
                </c:pt>
                <c:pt idx="1">
                  <c:v>29</c:v>
                </c:pt>
                <c:pt idx="2">
                  <c:v>14</c:v>
                </c:pt>
                <c:pt idx="3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E8BF-4527-9906-E28B30F603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342284383"/>
        <c:axId val="1"/>
      </c:barChart>
      <c:catAx>
        <c:axId val="1342284383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9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34228438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 eaLnBrk="1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87CF8B0F-FDCC-40D6-9839-11435B3001AC}" type="datetimeFigureOut">
              <a:rPr lang="en-US" smtClean="0"/>
              <a:t>7/17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 eaLnBrk="1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AA42B101-BBCB-4984-807E-560AEFF988A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10935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_tradnl" dirty="0" err="1"/>
              <a:t>Part</a:t>
            </a:r>
            <a:r>
              <a:rPr lang="es-ES_tradnl" dirty="0"/>
              <a:t> </a:t>
            </a:r>
            <a:r>
              <a:rPr lang="es-ES_tradnl" dirty="0" err="1"/>
              <a:t>of</a:t>
            </a:r>
            <a:r>
              <a:rPr lang="es-ES_tradnl" dirty="0"/>
              <a:t> </a:t>
            </a:r>
            <a:r>
              <a:rPr lang="es-ES_tradnl" dirty="0" err="1"/>
              <a:t>the</a:t>
            </a:r>
            <a:r>
              <a:rPr lang="es-ES_tradnl" dirty="0"/>
              <a:t> </a:t>
            </a:r>
            <a:r>
              <a:rPr lang="es-ES_tradnl" dirty="0" err="1"/>
              <a:t>evolution</a:t>
            </a:r>
            <a:r>
              <a:rPr lang="es-ES_tradnl" dirty="0"/>
              <a:t> </a:t>
            </a:r>
            <a:r>
              <a:rPr lang="es-ES_tradnl" dirty="0" err="1"/>
              <a:t>of</a:t>
            </a:r>
            <a:r>
              <a:rPr lang="es-ES_tradnl" dirty="0"/>
              <a:t> </a:t>
            </a:r>
            <a:r>
              <a:rPr lang="es-ES_tradnl" dirty="0" err="1"/>
              <a:t>the</a:t>
            </a:r>
            <a:r>
              <a:rPr lang="es-ES_tradnl" dirty="0"/>
              <a:t> </a:t>
            </a:r>
            <a:r>
              <a:rPr lang="es-ES_tradnl" dirty="0" err="1"/>
              <a:t>industry</a:t>
            </a:r>
            <a:r>
              <a:rPr lang="es-ES_tradnl" dirty="0"/>
              <a:t> (</a:t>
            </a:r>
            <a:r>
              <a:rPr lang="es-ES_tradnl" dirty="0" err="1"/>
              <a:t>from</a:t>
            </a:r>
            <a:r>
              <a:rPr lang="es-ES_tradnl" dirty="0"/>
              <a:t> </a:t>
            </a:r>
            <a:r>
              <a:rPr lang="es-ES_tradnl" dirty="0" err="1"/>
              <a:t>selling</a:t>
            </a:r>
            <a:r>
              <a:rPr lang="es-ES_tradnl" dirty="0"/>
              <a:t> </a:t>
            </a:r>
            <a:r>
              <a:rPr lang="es-ES_tradnl" dirty="0" err="1"/>
              <a:t>access</a:t>
            </a:r>
            <a:r>
              <a:rPr lang="es-ES_tradnl" dirty="0"/>
              <a:t> </a:t>
            </a:r>
            <a:r>
              <a:rPr lang="es-ES_tradnl" dirty="0" err="1"/>
              <a:t>to</a:t>
            </a:r>
            <a:r>
              <a:rPr lang="es-ES_tradnl" dirty="0"/>
              <a:t> </a:t>
            </a:r>
            <a:r>
              <a:rPr lang="es-ES_tradnl" dirty="0" err="1"/>
              <a:t>selling</a:t>
            </a:r>
            <a:r>
              <a:rPr lang="es-ES_tradnl" dirty="0"/>
              <a:t> ethernet + wifi)</a:t>
            </a:r>
          </a:p>
          <a:p>
            <a:r>
              <a:rPr lang="es-ES_tradnl" dirty="0" err="1"/>
              <a:t>Part</a:t>
            </a:r>
            <a:r>
              <a:rPr lang="es-ES_tradnl" dirty="0"/>
              <a:t> </a:t>
            </a:r>
            <a:r>
              <a:rPr lang="es-ES_tradnl" dirty="0" err="1"/>
              <a:t>of</a:t>
            </a:r>
            <a:r>
              <a:rPr lang="es-ES_tradnl" dirty="0"/>
              <a:t> </a:t>
            </a:r>
            <a:r>
              <a:rPr lang="es-ES_tradnl" dirty="0" err="1"/>
              <a:t>the</a:t>
            </a:r>
            <a:r>
              <a:rPr lang="es-ES_tradnl" dirty="0"/>
              <a:t> </a:t>
            </a:r>
            <a:r>
              <a:rPr lang="es-ES_tradnl" dirty="0" err="1"/>
              <a:t>ecosystem</a:t>
            </a:r>
            <a:endParaRPr lang="es-ES_tradnl" dirty="0"/>
          </a:p>
          <a:p>
            <a:r>
              <a:rPr lang="es-ES_tradnl" dirty="0"/>
              <a:t>Key role </a:t>
            </a:r>
            <a:r>
              <a:rPr lang="es-ES_tradnl" dirty="0" err="1"/>
              <a:t>to</a:t>
            </a:r>
            <a:r>
              <a:rPr lang="es-ES_tradnl" dirty="0"/>
              <a:t> </a:t>
            </a:r>
            <a:r>
              <a:rPr lang="es-ES_tradnl" dirty="0" err="1"/>
              <a:t>deliver</a:t>
            </a:r>
            <a:r>
              <a:rPr lang="es-ES_tradnl" dirty="0"/>
              <a:t> </a:t>
            </a:r>
            <a:r>
              <a:rPr lang="es-ES_tradnl" dirty="0" err="1"/>
              <a:t>services</a:t>
            </a:r>
            <a:endParaRPr lang="es-ES_tradnl" dirty="0"/>
          </a:p>
          <a:p>
            <a:endParaRPr lang="es-ES_tradnl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ow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mproving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i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-Fi can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mpact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ustomer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xperience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and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lso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xplain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a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little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bout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hy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ompanies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like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urs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are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orking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o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ard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o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rovide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n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nd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o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nd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i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-Fi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xperience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in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e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home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at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s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really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erfect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.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hat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are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e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mpediments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o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getting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eople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better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i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-Fi in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eir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omes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?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hy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s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t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o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mportant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o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PSs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like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us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?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ow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ill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e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echnology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mpact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at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roblem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,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hen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eople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omplain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bout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e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internet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but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t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s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ctually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a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roblem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ith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ongestion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r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oor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ignal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, etc.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hat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are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e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oing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o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ombat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is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for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ustomers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, </a:t>
            </a:r>
            <a:r>
              <a:rPr lang="es-MX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tc</a:t>
            </a:r>
            <a:r>
              <a:rPr lang="es-MX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? </a:t>
            </a:r>
          </a:p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42B101-BBCB-4984-807E-560AEFF988A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17454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is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s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o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alk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bout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hallenges</a:t>
            </a:r>
            <a:endParaRPr lang="es-MX" sz="12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MX" sz="12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ow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mproving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i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-Fi can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mpact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ustomer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xperience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and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lso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xplain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a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little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bout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hy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ompanies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like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urs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are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orking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o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ard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o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rovide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n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nd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o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nd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i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-Fi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xperience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in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e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home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at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s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really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erfect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.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hat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are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e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mpediments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o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getting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eople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better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i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-Fi in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eir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omes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?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hy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s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t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o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mportant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o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PSs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like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us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?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ow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ill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e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echnology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mpact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at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roblem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,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hen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eople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omplain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bout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e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internet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but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t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s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ctually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a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roblem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ith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ongestion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r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oor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ignal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, etc.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hat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are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e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oing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o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ombat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is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for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ustomers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, </a:t>
            </a:r>
            <a:r>
              <a:rPr lang="es-MX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tc</a:t>
            </a:r>
            <a:r>
              <a:rPr lang="es-MX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? </a:t>
            </a:r>
          </a:p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42B101-BBCB-4984-807E-560AEFF988A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21180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_tradnl" dirty="0" err="1"/>
              <a:t>Differences</a:t>
            </a:r>
            <a:r>
              <a:rPr lang="es-ES_tradnl" dirty="0"/>
              <a:t> </a:t>
            </a:r>
            <a:r>
              <a:rPr lang="es-ES_tradnl" dirty="0" err="1"/>
              <a:t>between</a:t>
            </a:r>
            <a:r>
              <a:rPr lang="es-ES_tradnl" dirty="0"/>
              <a:t> wifi 5 and wifi 6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_tradnl" dirty="0"/>
              <a:t>3 </a:t>
            </a:r>
            <a:r>
              <a:rPr lang="es-ES_tradnl" dirty="0" err="1"/>
              <a:t>trucks</a:t>
            </a:r>
            <a:r>
              <a:rPr lang="es-ES_tradnl" dirty="0"/>
              <a:t> </a:t>
            </a:r>
            <a:r>
              <a:rPr lang="es-ES_tradnl" dirty="0" err="1"/>
              <a:t>instead</a:t>
            </a:r>
            <a:r>
              <a:rPr lang="es-ES_tradnl" dirty="0"/>
              <a:t> 1 </a:t>
            </a:r>
            <a:r>
              <a:rPr lang="es-ES_tradnl" dirty="0" err="1"/>
              <a:t>to</a:t>
            </a:r>
            <a:r>
              <a:rPr lang="es-ES_tradnl" dirty="0"/>
              <a:t> </a:t>
            </a:r>
            <a:r>
              <a:rPr lang="es-ES_tradnl" dirty="0" err="1"/>
              <a:t>move</a:t>
            </a:r>
            <a:r>
              <a:rPr lang="es-ES_tradnl" dirty="0"/>
              <a:t> </a:t>
            </a:r>
            <a:r>
              <a:rPr lang="es-ES_tradnl" dirty="0" err="1"/>
              <a:t>traffic</a:t>
            </a:r>
            <a:endParaRPr lang="es-ES_tradnl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_tradnl" dirty="0" err="1"/>
              <a:t>If</a:t>
            </a:r>
            <a:r>
              <a:rPr lang="es-ES_tradnl" dirty="0"/>
              <a:t> </a:t>
            </a:r>
            <a:r>
              <a:rPr lang="es-ES_tradnl" dirty="0" err="1"/>
              <a:t>we</a:t>
            </a:r>
            <a:r>
              <a:rPr lang="es-ES_tradnl" dirty="0"/>
              <a:t> </a:t>
            </a:r>
            <a:r>
              <a:rPr lang="es-ES_tradnl" dirty="0" err="1"/>
              <a:t>see</a:t>
            </a:r>
            <a:r>
              <a:rPr lang="es-ES_tradnl" dirty="0"/>
              <a:t> time </a:t>
            </a:r>
            <a:r>
              <a:rPr lang="es-ES_tradnl" dirty="0" err="1"/>
              <a:t>domain</a:t>
            </a:r>
            <a:r>
              <a:rPr lang="es-ES_tradnl" dirty="0"/>
              <a:t>, </a:t>
            </a:r>
            <a:r>
              <a:rPr lang="es-ES_tradnl" dirty="0" err="1"/>
              <a:t>on</a:t>
            </a:r>
            <a:r>
              <a:rPr lang="es-ES_tradnl" dirty="0"/>
              <a:t> </a:t>
            </a:r>
            <a:r>
              <a:rPr lang="es-ES_tradnl" dirty="0" err="1"/>
              <a:t>the</a:t>
            </a:r>
            <a:r>
              <a:rPr lang="es-ES_tradnl" dirty="0"/>
              <a:t> </a:t>
            </a:r>
            <a:r>
              <a:rPr lang="es-ES_tradnl" dirty="0" err="1"/>
              <a:t>same</a:t>
            </a:r>
            <a:r>
              <a:rPr lang="es-ES_tradnl" dirty="0"/>
              <a:t> time </a:t>
            </a:r>
            <a:r>
              <a:rPr lang="es-ES_tradnl" dirty="0" err="1"/>
              <a:t>we</a:t>
            </a:r>
            <a:r>
              <a:rPr lang="es-ES_tradnl" dirty="0"/>
              <a:t> can </a:t>
            </a:r>
            <a:r>
              <a:rPr lang="es-ES_tradnl" dirty="0" err="1"/>
              <a:t>send</a:t>
            </a:r>
            <a:r>
              <a:rPr lang="es-ES_tradnl" dirty="0"/>
              <a:t> data </a:t>
            </a:r>
            <a:r>
              <a:rPr lang="es-ES_tradnl" dirty="0" err="1"/>
              <a:t>from</a:t>
            </a:r>
            <a:r>
              <a:rPr lang="es-ES_tradnl" dirty="0"/>
              <a:t> </a:t>
            </a:r>
            <a:r>
              <a:rPr lang="es-ES_tradnl" dirty="0" err="1"/>
              <a:t>different</a:t>
            </a:r>
            <a:r>
              <a:rPr lang="es-ES_tradnl" dirty="0"/>
              <a:t> </a:t>
            </a:r>
            <a:r>
              <a:rPr lang="es-ES_tradnl" dirty="0" err="1"/>
              <a:t>users</a:t>
            </a:r>
            <a:r>
              <a:rPr lang="es-ES_tradnl" dirty="0"/>
              <a:t> at a tim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_tradnl" dirty="0"/>
              <a:t>1024 </a:t>
            </a:r>
            <a:r>
              <a:rPr lang="es-ES_tradnl" dirty="0" err="1"/>
              <a:t>qam</a:t>
            </a:r>
            <a:r>
              <a:rPr lang="es-ES_tradnl" dirty="0"/>
              <a:t> </a:t>
            </a:r>
            <a:r>
              <a:rPr lang="es-ES_tradnl" dirty="0" err="1"/>
              <a:t>available</a:t>
            </a:r>
            <a:r>
              <a:rPr lang="es-ES_tradnl" dirty="0"/>
              <a:t>….</a:t>
            </a:r>
            <a:r>
              <a:rPr lang="es-ES_tradnl" dirty="0" err="1"/>
              <a:t>but</a:t>
            </a:r>
            <a:r>
              <a:rPr lang="es-ES_tradnl" dirty="0"/>
              <a:t> </a:t>
            </a:r>
            <a:r>
              <a:rPr lang="es-ES_tradnl" dirty="0" err="1"/>
              <a:t>practical</a:t>
            </a:r>
            <a:r>
              <a:rPr lang="es-ES_tradnl" dirty="0"/>
              <a:t> </a:t>
            </a:r>
            <a:r>
              <a:rPr lang="es-ES_tradnl" dirty="0" err="1"/>
              <a:t>sense</a:t>
            </a:r>
            <a:r>
              <a:rPr lang="es-ES_tradnl" dirty="0"/>
              <a:t> </a:t>
            </a:r>
            <a:r>
              <a:rPr lang="es-ES_tradnl" dirty="0" err="1"/>
              <a:t>indicate</a:t>
            </a:r>
            <a:r>
              <a:rPr lang="es-ES_tradnl" dirty="0"/>
              <a:t> </a:t>
            </a:r>
            <a:r>
              <a:rPr lang="es-ES_tradnl" dirty="0" err="1"/>
              <a:t>it’s</a:t>
            </a:r>
            <a:r>
              <a:rPr lang="es-ES_tradnl" dirty="0"/>
              <a:t> </a:t>
            </a:r>
            <a:r>
              <a:rPr lang="es-ES_tradnl" dirty="0" err="1"/>
              <a:t>hard</a:t>
            </a:r>
            <a:r>
              <a:rPr lang="es-ES_tradnl" dirty="0"/>
              <a:t> </a:t>
            </a:r>
            <a:r>
              <a:rPr lang="es-ES_tradnl" dirty="0" err="1"/>
              <a:t>to</a:t>
            </a:r>
            <a:r>
              <a:rPr lang="es-ES_tradnl" dirty="0"/>
              <a:t> </a:t>
            </a:r>
            <a:r>
              <a:rPr lang="es-ES_tradnl" dirty="0" err="1"/>
              <a:t>say</a:t>
            </a:r>
            <a:r>
              <a:rPr lang="es-ES_tradnl" dirty="0"/>
              <a:t> </a:t>
            </a:r>
            <a:r>
              <a:rPr lang="es-ES_tradnl" dirty="0" err="1"/>
              <a:t>when</a:t>
            </a:r>
            <a:r>
              <a:rPr lang="es-ES_tradnl" dirty="0"/>
              <a:t> </a:t>
            </a:r>
            <a:r>
              <a:rPr lang="es-ES_tradnl" dirty="0" err="1"/>
              <a:t>its</a:t>
            </a:r>
            <a:r>
              <a:rPr lang="es-ES_tradnl" dirty="0"/>
              <a:t> </a:t>
            </a:r>
            <a:r>
              <a:rPr lang="es-ES_tradnl" dirty="0" err="1"/>
              <a:t>available</a:t>
            </a:r>
            <a:endParaRPr lang="es-ES_tradnl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_tradnl" dirty="0"/>
              <a:t>A </a:t>
            </a:r>
            <a:r>
              <a:rPr lang="es-ES_tradnl" dirty="0" err="1"/>
              <a:t>customer</a:t>
            </a:r>
            <a:r>
              <a:rPr lang="es-ES_tradnl" dirty="0"/>
              <a:t> in </a:t>
            </a:r>
            <a:r>
              <a:rPr lang="es-ES_tradnl" dirty="0" err="1"/>
              <a:t>high</a:t>
            </a:r>
            <a:r>
              <a:rPr lang="es-ES_tradnl" dirty="0"/>
              <a:t> </a:t>
            </a:r>
            <a:r>
              <a:rPr lang="es-ES_tradnl" dirty="0" err="1"/>
              <a:t>density</a:t>
            </a:r>
            <a:r>
              <a:rPr lang="es-ES_tradnl" dirty="0"/>
              <a:t> </a:t>
            </a:r>
            <a:r>
              <a:rPr lang="es-ES_tradnl" dirty="0" err="1"/>
              <a:t>should</a:t>
            </a:r>
            <a:r>
              <a:rPr lang="es-ES_tradnl" dirty="0"/>
              <a:t> note </a:t>
            </a:r>
            <a:r>
              <a:rPr lang="es-ES_tradnl" dirty="0" err="1"/>
              <a:t>this</a:t>
            </a:r>
            <a:r>
              <a:rPr lang="es-ES_tradnl" dirty="0"/>
              <a:t> (</a:t>
            </a:r>
            <a:r>
              <a:rPr lang="es-ES_tradnl" dirty="0" err="1"/>
              <a:t>high</a:t>
            </a:r>
            <a:r>
              <a:rPr lang="es-ES_tradnl" dirty="0"/>
              <a:t> </a:t>
            </a:r>
            <a:r>
              <a:rPr lang="es-ES_tradnl" dirty="0" err="1"/>
              <a:t>density</a:t>
            </a:r>
            <a:r>
              <a:rPr lang="es-ES_tradnl" dirty="0"/>
              <a:t> more </a:t>
            </a:r>
            <a:r>
              <a:rPr lang="es-ES_tradnl" dirty="0" err="1"/>
              <a:t>than</a:t>
            </a:r>
            <a:r>
              <a:rPr lang="es-ES_tradnl" dirty="0"/>
              <a:t>  25 </a:t>
            </a:r>
            <a:r>
              <a:rPr lang="es-ES_tradnl" dirty="0" err="1"/>
              <a:t>devices</a:t>
            </a:r>
            <a:r>
              <a:rPr lang="es-ES_tradnl" dirty="0"/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_tradnl" dirty="0" err="1"/>
              <a:t>You</a:t>
            </a:r>
            <a:r>
              <a:rPr lang="es-ES_tradnl" dirty="0"/>
              <a:t> </a:t>
            </a:r>
            <a:r>
              <a:rPr lang="es-ES_tradnl" dirty="0" err="1"/>
              <a:t>need</a:t>
            </a:r>
            <a:r>
              <a:rPr lang="es-ES_tradnl" dirty="0"/>
              <a:t> at </a:t>
            </a:r>
            <a:r>
              <a:rPr lang="es-ES_tradnl" dirty="0" err="1"/>
              <a:t>least</a:t>
            </a:r>
            <a:r>
              <a:rPr lang="es-ES_tradnl" dirty="0"/>
              <a:t> 2  </a:t>
            </a:r>
            <a:r>
              <a:rPr lang="es-ES_tradnl" dirty="0" err="1"/>
              <a:t>devices</a:t>
            </a:r>
            <a:r>
              <a:rPr lang="es-ES_tradnl" dirty="0"/>
              <a:t> </a:t>
            </a:r>
            <a:r>
              <a:rPr lang="es-ES_tradnl" dirty="0" err="1"/>
              <a:t>ax</a:t>
            </a:r>
            <a:r>
              <a:rPr lang="es-ES_tradnl" dirty="0"/>
              <a:t> 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42B101-BBCB-4984-807E-560AEFF988A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07618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_tradnl" dirty="0"/>
              <a:t>At </a:t>
            </a:r>
            <a:r>
              <a:rPr lang="es-ES_tradnl" dirty="0" err="1"/>
              <a:t>the</a:t>
            </a:r>
            <a:r>
              <a:rPr lang="es-ES_tradnl" dirty="0"/>
              <a:t> </a:t>
            </a:r>
            <a:r>
              <a:rPr lang="es-ES_tradnl" dirty="0" err="1"/>
              <a:t>end</a:t>
            </a:r>
            <a:r>
              <a:rPr lang="es-ES_tradnl" dirty="0"/>
              <a:t>, more </a:t>
            </a:r>
            <a:r>
              <a:rPr lang="es-ES_tradnl" dirty="0" err="1"/>
              <a:t>channels</a:t>
            </a:r>
            <a:r>
              <a:rPr lang="es-ES_tradnl" dirty="0"/>
              <a:t> </a:t>
            </a:r>
            <a:r>
              <a:rPr lang="es-ES_tradnl" dirty="0" err="1"/>
              <a:t>available</a:t>
            </a:r>
            <a:r>
              <a:rPr lang="es-ES_tradnl" dirty="0"/>
              <a:t> and </a:t>
            </a:r>
            <a:r>
              <a:rPr lang="es-ES_tradnl" dirty="0" err="1"/>
              <a:t>the</a:t>
            </a:r>
            <a:r>
              <a:rPr lang="es-ES_tradnl" dirty="0"/>
              <a:t> </a:t>
            </a:r>
            <a:r>
              <a:rPr lang="es-ES_tradnl" dirty="0" err="1"/>
              <a:t>possibility</a:t>
            </a:r>
            <a:r>
              <a:rPr lang="es-ES_tradnl" dirty="0"/>
              <a:t> </a:t>
            </a:r>
            <a:r>
              <a:rPr lang="es-ES_tradnl" dirty="0" err="1"/>
              <a:t>to</a:t>
            </a:r>
            <a:r>
              <a:rPr lang="es-ES_tradnl" dirty="0"/>
              <a:t> bond </a:t>
            </a:r>
            <a:r>
              <a:rPr lang="es-ES_tradnl" dirty="0" err="1"/>
              <a:t>them</a:t>
            </a:r>
            <a:r>
              <a:rPr lang="es-ES_tradnl" dirty="0"/>
              <a:t> </a:t>
            </a:r>
            <a:r>
              <a:rPr lang="es-ES_tradnl" dirty="0" err="1"/>
              <a:t>to</a:t>
            </a:r>
            <a:r>
              <a:rPr lang="es-ES_tradnl" dirty="0"/>
              <a:t> use more </a:t>
            </a:r>
            <a:r>
              <a:rPr lang="es-ES_tradnl" dirty="0" err="1"/>
              <a:t>beandwidth</a:t>
            </a:r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42B101-BBCB-4984-807E-560AEFF988A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05685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257300" lvl="1" indent="-571500">
              <a:buFont typeface="Arial" panose="020B0604020202020204" pitchFamily="34" charset="0"/>
              <a:buChar char="•"/>
            </a:pPr>
            <a:r>
              <a:rPr lang="es-ES_tradnl" dirty="0"/>
              <a:t>Use Smart wifi </a:t>
            </a:r>
            <a:r>
              <a:rPr lang="es-ES_tradnl" dirty="0" err="1"/>
              <a:t>capabities</a:t>
            </a:r>
            <a:r>
              <a:rPr lang="es-ES_tradnl" dirty="0"/>
              <a:t> </a:t>
            </a:r>
            <a:r>
              <a:rPr lang="es-ES_tradnl" dirty="0" err="1"/>
              <a:t>to</a:t>
            </a:r>
            <a:r>
              <a:rPr lang="es-ES_tradnl" dirty="0"/>
              <a:t> </a:t>
            </a:r>
            <a:r>
              <a:rPr lang="es-ES_tradnl" dirty="0" err="1"/>
              <a:t>develop</a:t>
            </a:r>
            <a:r>
              <a:rPr lang="es-ES_tradnl" dirty="0"/>
              <a:t> a </a:t>
            </a:r>
            <a:r>
              <a:rPr lang="es-ES_tradnl" dirty="0" err="1"/>
              <a:t>way</a:t>
            </a:r>
            <a:r>
              <a:rPr lang="es-ES_tradnl" dirty="0"/>
              <a:t> </a:t>
            </a:r>
            <a:r>
              <a:rPr lang="es-ES_tradnl" dirty="0" err="1"/>
              <a:t>to</a:t>
            </a:r>
            <a:r>
              <a:rPr lang="es-ES_tradnl" dirty="0"/>
              <a:t> </a:t>
            </a:r>
            <a:r>
              <a:rPr lang="es-ES_tradnl" dirty="0" err="1"/>
              <a:t>categorize</a:t>
            </a:r>
            <a:r>
              <a:rPr lang="es-ES_tradnl" dirty="0"/>
              <a:t> </a:t>
            </a:r>
            <a:r>
              <a:rPr lang="es-ES_tradnl" dirty="0" err="1"/>
              <a:t>households</a:t>
            </a:r>
            <a:r>
              <a:rPr lang="es-ES_tradnl" dirty="0"/>
              <a:t> (</a:t>
            </a:r>
            <a:r>
              <a:rPr lang="es-ES_tradnl" dirty="0" err="1"/>
              <a:t>people</a:t>
            </a:r>
            <a:r>
              <a:rPr lang="es-ES_tradnl" dirty="0"/>
              <a:t> living, </a:t>
            </a:r>
            <a:r>
              <a:rPr lang="es-ES_tradnl" dirty="0" err="1"/>
              <a:t>income</a:t>
            </a:r>
            <a:r>
              <a:rPr lang="es-ES_tradnl" dirty="0"/>
              <a:t> –as </a:t>
            </a:r>
            <a:r>
              <a:rPr lang="es-ES_tradnl" dirty="0" err="1"/>
              <a:t>you</a:t>
            </a:r>
            <a:r>
              <a:rPr lang="es-ES_tradnl" dirty="0"/>
              <a:t> can </a:t>
            </a:r>
            <a:r>
              <a:rPr lang="es-ES_tradnl" dirty="0" err="1"/>
              <a:t>see</a:t>
            </a:r>
            <a:r>
              <a:rPr lang="es-ES_tradnl" dirty="0"/>
              <a:t> </a:t>
            </a:r>
            <a:r>
              <a:rPr lang="es-ES_tradnl" dirty="0" err="1"/>
              <a:t>devices</a:t>
            </a:r>
            <a:r>
              <a:rPr lang="es-ES_tradnl" dirty="0"/>
              <a:t>-, </a:t>
            </a:r>
            <a:r>
              <a:rPr lang="es-ES_tradnl" dirty="0" err="1"/>
              <a:t>married</a:t>
            </a:r>
            <a:r>
              <a:rPr lang="es-ES_tradnl" dirty="0"/>
              <a:t>/</a:t>
            </a:r>
            <a:r>
              <a:rPr lang="es-ES_tradnl" dirty="0" err="1"/>
              <a:t>couple</a:t>
            </a:r>
            <a:r>
              <a:rPr lang="es-ES_tradnl" dirty="0"/>
              <a:t>/</a:t>
            </a:r>
            <a:r>
              <a:rPr lang="es-ES_tradnl" dirty="0" err="1"/>
              <a:t>kids</a:t>
            </a:r>
            <a:r>
              <a:rPr lang="es-ES_tradnl" dirty="0"/>
              <a:t>) / </a:t>
            </a:r>
            <a:r>
              <a:rPr lang="es-ES_tradnl" dirty="0" err="1"/>
              <a:t>neighbors</a:t>
            </a:r>
            <a:r>
              <a:rPr lang="es-ES_tradnl" dirty="0"/>
              <a:t> AP / </a:t>
            </a:r>
            <a:r>
              <a:rPr lang="es-ES_tradnl" dirty="0" err="1"/>
              <a:t>who</a:t>
            </a:r>
            <a:r>
              <a:rPr lang="es-ES_tradnl" dirty="0"/>
              <a:t> </a:t>
            </a:r>
            <a:r>
              <a:rPr lang="es-ES_tradnl" dirty="0" err="1"/>
              <a:t>is</a:t>
            </a:r>
            <a:r>
              <a:rPr lang="es-ES_tradnl" dirty="0"/>
              <a:t> at home</a:t>
            </a:r>
          </a:p>
          <a:p>
            <a:pPr marL="1257300" lvl="1" indent="-571500">
              <a:buFont typeface="Arial" panose="020B0604020202020204" pitchFamily="34" charset="0"/>
              <a:buChar char="•"/>
            </a:pPr>
            <a:r>
              <a:rPr lang="es-ES_tradnl" dirty="0"/>
              <a:t>Use Smart wifi + GIS (</a:t>
            </a:r>
            <a:r>
              <a:rPr lang="es-ES_tradnl" dirty="0" err="1"/>
              <a:t>geography</a:t>
            </a:r>
            <a:r>
              <a:rPr lang="es-ES_tradnl" dirty="0"/>
              <a:t> </a:t>
            </a:r>
            <a:r>
              <a:rPr lang="es-ES_tradnl" dirty="0" err="1"/>
              <a:t>information</a:t>
            </a:r>
            <a:r>
              <a:rPr lang="es-ES_tradnl" dirty="0"/>
              <a:t> </a:t>
            </a:r>
            <a:r>
              <a:rPr lang="es-ES_tradnl" dirty="0" err="1"/>
              <a:t>system</a:t>
            </a:r>
            <a:r>
              <a:rPr lang="es-ES_tradnl" dirty="0"/>
              <a:t>), </a:t>
            </a:r>
            <a:r>
              <a:rPr lang="es-ES_tradnl" dirty="0" err="1"/>
              <a:t>to</a:t>
            </a:r>
            <a:r>
              <a:rPr lang="es-ES_tradnl" dirty="0"/>
              <a:t> </a:t>
            </a:r>
            <a:r>
              <a:rPr lang="es-ES_tradnl" dirty="0" err="1"/>
              <a:t>apply</a:t>
            </a:r>
            <a:r>
              <a:rPr lang="es-ES_tradnl" dirty="0"/>
              <a:t> in sales in B2C </a:t>
            </a:r>
            <a:r>
              <a:rPr lang="es-ES_tradnl" dirty="0" err="1"/>
              <a:t>fixed</a:t>
            </a:r>
            <a:r>
              <a:rPr lang="es-ES_tradnl" dirty="0"/>
              <a:t> </a:t>
            </a:r>
            <a:r>
              <a:rPr lang="es-ES_tradnl" dirty="0" err="1"/>
              <a:t>business</a:t>
            </a:r>
            <a:r>
              <a:rPr lang="es-ES_tradnl" dirty="0"/>
              <a:t> (</a:t>
            </a:r>
            <a:r>
              <a:rPr lang="es-ES_tradnl" dirty="0" err="1"/>
              <a:t>when</a:t>
            </a:r>
            <a:r>
              <a:rPr lang="es-ES_tradnl" dirty="0"/>
              <a:t> a </a:t>
            </a:r>
            <a:r>
              <a:rPr lang="es-ES_tradnl" dirty="0" err="1"/>
              <a:t>customer</a:t>
            </a:r>
            <a:r>
              <a:rPr lang="es-ES_tradnl" dirty="0"/>
              <a:t> </a:t>
            </a:r>
            <a:r>
              <a:rPr lang="es-ES_tradnl" dirty="0" err="1"/>
              <a:t>requires</a:t>
            </a:r>
            <a:r>
              <a:rPr lang="es-ES_tradnl" dirty="0"/>
              <a:t> a </a:t>
            </a:r>
            <a:r>
              <a:rPr lang="es-ES_tradnl" dirty="0" err="1"/>
              <a:t>broadband</a:t>
            </a:r>
            <a:r>
              <a:rPr lang="es-ES_tradnl" dirty="0"/>
              <a:t> </a:t>
            </a:r>
            <a:r>
              <a:rPr lang="es-ES_tradnl" dirty="0" err="1"/>
              <a:t>service</a:t>
            </a:r>
            <a:r>
              <a:rPr lang="es-ES_tradnl" dirty="0"/>
              <a:t>, as </a:t>
            </a:r>
            <a:r>
              <a:rPr lang="es-ES_tradnl" dirty="0" err="1"/>
              <a:t>we</a:t>
            </a:r>
            <a:r>
              <a:rPr lang="es-ES_tradnl" dirty="0"/>
              <a:t> </a:t>
            </a:r>
            <a:r>
              <a:rPr lang="es-ES_tradnl" dirty="0" err="1"/>
              <a:t>know</a:t>
            </a:r>
            <a:r>
              <a:rPr lang="es-ES_tradnl" dirty="0"/>
              <a:t> </a:t>
            </a:r>
            <a:r>
              <a:rPr lang="es-ES_tradnl" dirty="0" err="1"/>
              <a:t>where</a:t>
            </a:r>
            <a:r>
              <a:rPr lang="es-ES_tradnl" dirty="0"/>
              <a:t> he </a:t>
            </a:r>
            <a:r>
              <a:rPr lang="es-ES_tradnl" dirty="0" err="1"/>
              <a:t>lives</a:t>
            </a:r>
            <a:r>
              <a:rPr lang="es-ES_tradnl" dirty="0"/>
              <a:t>, </a:t>
            </a:r>
            <a:r>
              <a:rPr lang="es-ES_tradnl" dirty="0" err="1"/>
              <a:t>we</a:t>
            </a:r>
            <a:r>
              <a:rPr lang="es-ES_tradnl" dirty="0"/>
              <a:t> can </a:t>
            </a:r>
            <a:r>
              <a:rPr lang="es-ES_tradnl" dirty="0" err="1"/>
              <a:t>know</a:t>
            </a:r>
            <a:r>
              <a:rPr lang="es-ES_tradnl" dirty="0"/>
              <a:t> </a:t>
            </a:r>
            <a:r>
              <a:rPr lang="es-ES_tradnl" dirty="0" err="1"/>
              <a:t>its</a:t>
            </a:r>
            <a:r>
              <a:rPr lang="es-ES_tradnl" dirty="0"/>
              <a:t> </a:t>
            </a:r>
            <a:r>
              <a:rPr lang="es-ES_tradnl" dirty="0" err="1"/>
              <a:t>household</a:t>
            </a:r>
            <a:r>
              <a:rPr lang="es-ES_tradnl" dirty="0"/>
              <a:t> </a:t>
            </a:r>
            <a:r>
              <a:rPr lang="es-ES_tradnl" dirty="0" err="1"/>
              <a:t>side</a:t>
            </a:r>
            <a:r>
              <a:rPr lang="es-ES_tradnl" dirty="0"/>
              <a:t>, and </a:t>
            </a:r>
            <a:r>
              <a:rPr lang="es-ES_tradnl" dirty="0" err="1"/>
              <a:t>make</a:t>
            </a:r>
            <a:r>
              <a:rPr lang="es-ES_tradnl" dirty="0"/>
              <a:t> a </a:t>
            </a:r>
            <a:r>
              <a:rPr lang="es-ES_tradnl" dirty="0" err="1"/>
              <a:t>reccommendation</a:t>
            </a:r>
            <a:r>
              <a:rPr lang="es-ES_tradnl" dirty="0"/>
              <a:t> </a:t>
            </a:r>
            <a:r>
              <a:rPr lang="es-ES_tradnl" dirty="0" err="1"/>
              <a:t>on</a:t>
            </a:r>
            <a:r>
              <a:rPr lang="es-ES_tradnl" dirty="0"/>
              <a:t> </a:t>
            </a:r>
            <a:r>
              <a:rPr lang="es-ES_tradnl" dirty="0" err="1"/>
              <a:t>access</a:t>
            </a:r>
            <a:r>
              <a:rPr lang="es-ES_tradnl" dirty="0"/>
              <a:t> </a:t>
            </a:r>
            <a:r>
              <a:rPr lang="es-ES_tradnl" dirty="0" err="1"/>
              <a:t>point</a:t>
            </a:r>
            <a:r>
              <a:rPr lang="es-ES_tradnl" dirty="0"/>
              <a:t> </a:t>
            </a:r>
            <a:r>
              <a:rPr lang="es-ES_tradnl" dirty="0" err="1"/>
              <a:t>needed</a:t>
            </a:r>
            <a:r>
              <a:rPr lang="es-ES_tradnl" dirty="0"/>
              <a:t> and </a:t>
            </a:r>
            <a:r>
              <a:rPr lang="es-ES_tradnl" dirty="0" err="1"/>
              <a:t>where</a:t>
            </a:r>
            <a:r>
              <a:rPr lang="es-ES_tradnl" dirty="0"/>
              <a:t> </a:t>
            </a:r>
            <a:r>
              <a:rPr lang="es-ES_tradnl" dirty="0" err="1"/>
              <a:t>should</a:t>
            </a:r>
            <a:r>
              <a:rPr lang="es-ES_tradnl" dirty="0"/>
              <a:t> be </a:t>
            </a:r>
            <a:r>
              <a:rPr lang="es-ES_tradnl" dirty="0" err="1"/>
              <a:t>located</a:t>
            </a:r>
            <a:r>
              <a:rPr lang="es-ES_tradnl" dirty="0"/>
              <a:t>)</a:t>
            </a:r>
          </a:p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42B101-BBCB-4984-807E-560AEFF988AC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94561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es-ES_tradnl" dirty="0" err="1"/>
              <a:t>From</a:t>
            </a:r>
            <a:r>
              <a:rPr lang="es-ES_tradnl" dirty="0"/>
              <a:t> ISP</a:t>
            </a:r>
          </a:p>
          <a:p>
            <a:pPr marL="1257300" lvl="1" indent="-571500">
              <a:buFont typeface="Arial" panose="020B0604020202020204" pitchFamily="34" charset="0"/>
              <a:buChar char="•"/>
            </a:pPr>
            <a:r>
              <a:rPr lang="es-ES_tradnl" dirty="0" err="1"/>
              <a:t>How</a:t>
            </a:r>
            <a:r>
              <a:rPr lang="es-ES_tradnl" dirty="0"/>
              <a:t> </a:t>
            </a:r>
            <a:r>
              <a:rPr lang="es-ES_tradnl" dirty="0" err="1"/>
              <a:t>we</a:t>
            </a:r>
            <a:r>
              <a:rPr lang="es-ES_tradnl" dirty="0"/>
              <a:t> can be </a:t>
            </a:r>
            <a:r>
              <a:rPr lang="es-ES_tradnl" dirty="0" err="1"/>
              <a:t>not</a:t>
            </a:r>
            <a:r>
              <a:rPr lang="es-ES_tradnl" dirty="0"/>
              <a:t> </a:t>
            </a:r>
            <a:r>
              <a:rPr lang="es-ES_tradnl" dirty="0" err="1"/>
              <a:t>the</a:t>
            </a:r>
            <a:r>
              <a:rPr lang="es-ES_tradnl" dirty="0"/>
              <a:t> </a:t>
            </a:r>
            <a:r>
              <a:rPr lang="es-ES_tradnl" dirty="0" err="1"/>
              <a:t>dumb</a:t>
            </a:r>
            <a:r>
              <a:rPr lang="es-ES_tradnl" dirty="0"/>
              <a:t> pipeline</a:t>
            </a:r>
          </a:p>
          <a:p>
            <a:pPr marL="1257300" lvl="1" indent="-571500">
              <a:buFont typeface="Arial" panose="020B0604020202020204" pitchFamily="34" charset="0"/>
              <a:buChar char="•"/>
            </a:pPr>
            <a:endParaRPr lang="es-ES_tradnl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s-ES_tradnl" dirty="0" err="1"/>
              <a:t>From</a:t>
            </a:r>
            <a:r>
              <a:rPr lang="es-ES_tradnl" dirty="0"/>
              <a:t> wifi</a:t>
            </a:r>
          </a:p>
          <a:p>
            <a:pPr marL="1257300" lvl="1" indent="-571500">
              <a:buFont typeface="Arial" panose="020B0604020202020204" pitchFamily="34" charset="0"/>
              <a:buChar char="•"/>
            </a:pPr>
            <a:r>
              <a:rPr lang="es-ES_tradnl" dirty="0"/>
              <a:t>Can </a:t>
            </a:r>
            <a:r>
              <a:rPr lang="es-ES_tradnl" dirty="0" err="1"/>
              <a:t>we</a:t>
            </a:r>
            <a:r>
              <a:rPr lang="es-ES_tradnl" dirty="0"/>
              <a:t> use wifi </a:t>
            </a:r>
            <a:r>
              <a:rPr lang="es-ES_tradnl" dirty="0" err="1"/>
              <a:t>to</a:t>
            </a:r>
            <a:r>
              <a:rPr lang="es-ES_tradnl" dirty="0"/>
              <a:t> </a:t>
            </a:r>
            <a:r>
              <a:rPr lang="es-ES_tradnl" dirty="0" err="1"/>
              <a:t>change</a:t>
            </a:r>
            <a:r>
              <a:rPr lang="es-ES_tradnl" dirty="0"/>
              <a:t> </a:t>
            </a:r>
            <a:r>
              <a:rPr lang="es-ES_tradnl" dirty="0" err="1"/>
              <a:t>the</a:t>
            </a:r>
            <a:r>
              <a:rPr lang="es-ES_tradnl" dirty="0"/>
              <a:t> </a:t>
            </a:r>
            <a:r>
              <a:rPr lang="es-ES_tradnl" dirty="0" err="1"/>
              <a:t>pocket</a:t>
            </a:r>
            <a:r>
              <a:rPr lang="es-ES_tradnl" dirty="0"/>
              <a:t> </a:t>
            </a:r>
            <a:r>
              <a:rPr lang="es-ES_tradnl" dirty="0" err="1"/>
              <a:t>perception</a:t>
            </a:r>
            <a:r>
              <a:rPr lang="es-ES_tradnl" dirty="0"/>
              <a:t> </a:t>
            </a:r>
            <a:r>
              <a:rPr lang="es-ES_tradnl" dirty="0" err="1"/>
              <a:t>from</a:t>
            </a:r>
            <a:r>
              <a:rPr lang="es-ES_tradnl" dirty="0"/>
              <a:t> </a:t>
            </a:r>
            <a:r>
              <a:rPr lang="es-ES_tradnl" dirty="0" err="1"/>
              <a:t>our</a:t>
            </a:r>
            <a:r>
              <a:rPr lang="es-ES_tradnl" dirty="0"/>
              <a:t> </a:t>
            </a:r>
            <a:r>
              <a:rPr lang="es-ES_tradnl" dirty="0" err="1"/>
              <a:t>customer</a:t>
            </a:r>
            <a:r>
              <a:rPr lang="es-ES_tradnl" dirty="0"/>
              <a:t>? Can </a:t>
            </a:r>
            <a:r>
              <a:rPr lang="es-ES_tradnl" dirty="0" err="1"/>
              <a:t>we</a:t>
            </a:r>
            <a:r>
              <a:rPr lang="es-ES_tradnl" dirty="0"/>
              <a:t> </a:t>
            </a:r>
            <a:r>
              <a:rPr lang="es-ES_tradnl" dirty="0" err="1"/>
              <a:t>something</a:t>
            </a:r>
            <a:r>
              <a:rPr lang="es-ES_tradnl" dirty="0"/>
              <a:t> </a:t>
            </a:r>
            <a:r>
              <a:rPr lang="es-ES_tradnl" dirty="0" err="1"/>
              <a:t>different</a:t>
            </a:r>
            <a:r>
              <a:rPr lang="es-ES_tradnl" dirty="0"/>
              <a:t> </a:t>
            </a:r>
            <a:r>
              <a:rPr lang="es-ES_tradnl" dirty="0" err="1"/>
              <a:t>than</a:t>
            </a:r>
            <a:r>
              <a:rPr lang="es-ES_tradnl" dirty="0"/>
              <a:t> </a:t>
            </a:r>
            <a:r>
              <a:rPr lang="es-ES_tradnl" dirty="0" err="1"/>
              <a:t>just</a:t>
            </a:r>
            <a:r>
              <a:rPr lang="es-ES_tradnl" dirty="0"/>
              <a:t> </a:t>
            </a:r>
            <a:r>
              <a:rPr lang="es-ES_tradnl" dirty="0" err="1"/>
              <a:t>the</a:t>
            </a:r>
            <a:r>
              <a:rPr lang="es-ES_tradnl" dirty="0"/>
              <a:t> internet </a:t>
            </a:r>
            <a:r>
              <a:rPr lang="es-ES_tradnl" dirty="0" err="1"/>
              <a:t>bill</a:t>
            </a:r>
            <a:r>
              <a:rPr lang="es-ES_tradnl" dirty="0"/>
              <a:t>?</a:t>
            </a:r>
          </a:p>
          <a:p>
            <a:pPr marL="1257300" lvl="1" indent="-571500">
              <a:buFont typeface="Arial" panose="020B0604020202020204" pitchFamily="34" charset="0"/>
              <a:buChar char="•"/>
            </a:pPr>
            <a:endParaRPr lang="es-ES_tradnl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s-ES_tradnl" dirty="0" err="1"/>
              <a:t>From</a:t>
            </a:r>
            <a:r>
              <a:rPr lang="es-ES_tradnl" dirty="0"/>
              <a:t> </a:t>
            </a:r>
            <a:r>
              <a:rPr lang="es-ES_tradnl" dirty="0" err="1"/>
              <a:t>applications</a:t>
            </a:r>
            <a:endParaRPr lang="es-ES_tradnl" dirty="0"/>
          </a:p>
          <a:p>
            <a:pPr marL="1257300" lvl="1" indent="-571500">
              <a:buFont typeface="Arial" panose="020B0604020202020204" pitchFamily="34" charset="0"/>
              <a:buChar char="•"/>
            </a:pPr>
            <a:r>
              <a:rPr lang="es-ES_tradnl" dirty="0" err="1"/>
              <a:t>Imagination</a:t>
            </a:r>
            <a:r>
              <a:rPr lang="es-ES_tradnl" dirty="0"/>
              <a:t> </a:t>
            </a:r>
            <a:r>
              <a:rPr lang="es-ES_tradnl" dirty="0" err="1"/>
              <a:t>is</a:t>
            </a:r>
            <a:r>
              <a:rPr lang="es-ES_tradnl" dirty="0"/>
              <a:t> </a:t>
            </a:r>
            <a:r>
              <a:rPr lang="es-ES_tradnl" dirty="0" err="1"/>
              <a:t>the</a:t>
            </a:r>
            <a:r>
              <a:rPr lang="es-ES_tradnl" dirty="0"/>
              <a:t> </a:t>
            </a:r>
            <a:r>
              <a:rPr lang="es-ES_tradnl" dirty="0" err="1"/>
              <a:t>limit</a:t>
            </a:r>
            <a:endParaRPr lang="es-ES_tradnl" dirty="0"/>
          </a:p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42B101-BBCB-4984-807E-560AEFF988AC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79476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03.xml"/><Relationship Id="rId1" Type="http://schemas.openxmlformats.org/officeDocument/2006/relationships/tags" Target="../tags/tag20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0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05.xml"/><Relationship Id="rId1" Type="http://schemas.openxmlformats.org/officeDocument/2006/relationships/tags" Target="../tags/tag20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1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07.xml"/><Relationship Id="rId1" Type="http://schemas.openxmlformats.org/officeDocument/2006/relationships/tags" Target="../tags/tag20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2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09.xml"/><Relationship Id="rId1" Type="http://schemas.openxmlformats.org/officeDocument/2006/relationships/tags" Target="../tags/tag20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3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11.xml"/><Relationship Id="rId1" Type="http://schemas.openxmlformats.org/officeDocument/2006/relationships/tags" Target="../tags/tag21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4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13.xml"/><Relationship Id="rId1" Type="http://schemas.openxmlformats.org/officeDocument/2006/relationships/tags" Target="../tags/tag21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5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tags" Target="../tags/tag216.xml"/><Relationship Id="rId2" Type="http://schemas.openxmlformats.org/officeDocument/2006/relationships/tags" Target="../tags/tag215.xml"/><Relationship Id="rId1" Type="http://schemas.openxmlformats.org/officeDocument/2006/relationships/tags" Target="../tags/tag214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6.bin"/><Relationship Id="rId4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tags" Target="../tags/tag219.xml"/><Relationship Id="rId2" Type="http://schemas.openxmlformats.org/officeDocument/2006/relationships/tags" Target="../tags/tag218.xml"/><Relationship Id="rId1" Type="http://schemas.openxmlformats.org/officeDocument/2006/relationships/tags" Target="../tags/tag217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7.bin"/><Relationship Id="rId4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21.xml"/><Relationship Id="rId1" Type="http://schemas.openxmlformats.org/officeDocument/2006/relationships/tags" Target="../tags/tag22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8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23.xml"/><Relationship Id="rId1" Type="http://schemas.openxmlformats.org/officeDocument/2006/relationships/tags" Target="../tags/tag22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9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25.xml"/><Relationship Id="rId1" Type="http://schemas.openxmlformats.org/officeDocument/2006/relationships/tags" Target="../tags/tag22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0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27.xml"/><Relationship Id="rId1" Type="http://schemas.openxmlformats.org/officeDocument/2006/relationships/tags" Target="../tags/tag22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1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29.xml"/><Relationship Id="rId1" Type="http://schemas.openxmlformats.org/officeDocument/2006/relationships/tags" Target="../tags/tag22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2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31.xml"/><Relationship Id="rId1" Type="http://schemas.openxmlformats.org/officeDocument/2006/relationships/tags" Target="../tags/tag23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3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33.xml"/><Relationship Id="rId1" Type="http://schemas.openxmlformats.org/officeDocument/2006/relationships/tags" Target="../tags/tag23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4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35.xml"/><Relationship Id="rId1" Type="http://schemas.openxmlformats.org/officeDocument/2006/relationships/tags" Target="../tags/tag23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5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37.xml"/><Relationship Id="rId1" Type="http://schemas.openxmlformats.org/officeDocument/2006/relationships/tags" Target="../tags/tag23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6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39.xml"/><Relationship Id="rId1" Type="http://schemas.openxmlformats.org/officeDocument/2006/relationships/tags" Target="../tags/tag23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7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41.xml"/><Relationship Id="rId1" Type="http://schemas.openxmlformats.org/officeDocument/2006/relationships/tags" Target="../tags/tag24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8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43.xml"/><Relationship Id="rId1" Type="http://schemas.openxmlformats.org/officeDocument/2006/relationships/tags" Target="../tags/tag24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9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1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0.png"/><Relationship Id="rId2" Type="http://schemas.openxmlformats.org/officeDocument/2006/relationships/tags" Target="../tags/tag245.xml"/><Relationship Id="rId1" Type="http://schemas.openxmlformats.org/officeDocument/2006/relationships/tags" Target="../tags/tag244.xml"/><Relationship Id="rId6" Type="http://schemas.openxmlformats.org/officeDocument/2006/relationships/image" Target="../media/image14.jpeg"/><Relationship Id="rId5" Type="http://schemas.openxmlformats.org/officeDocument/2006/relationships/image" Target="../media/image1.emf"/><Relationship Id="rId10" Type="http://schemas.openxmlformats.org/officeDocument/2006/relationships/image" Target="../media/image13.png"/><Relationship Id="rId4" Type="http://schemas.openxmlformats.org/officeDocument/2006/relationships/oleObject" Target="../embeddings/oleObject120.bin"/><Relationship Id="rId9" Type="http://schemas.openxmlformats.org/officeDocument/2006/relationships/image" Target="../media/image12.png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8.xml"/><Relationship Id="rId1" Type="http://schemas.openxmlformats.org/officeDocument/2006/relationships/tags" Target="../tags/tag24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2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50.xml"/><Relationship Id="rId1" Type="http://schemas.openxmlformats.org/officeDocument/2006/relationships/tags" Target="../tags/tag249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3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52.xml"/><Relationship Id="rId1" Type="http://schemas.openxmlformats.org/officeDocument/2006/relationships/tags" Target="../tags/tag25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4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54.xml"/><Relationship Id="rId1" Type="http://schemas.openxmlformats.org/officeDocument/2006/relationships/tags" Target="../tags/tag25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5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56.xml"/><Relationship Id="rId1" Type="http://schemas.openxmlformats.org/officeDocument/2006/relationships/tags" Target="../tags/tag25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6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58.xml"/><Relationship Id="rId1" Type="http://schemas.openxmlformats.org/officeDocument/2006/relationships/tags" Target="../tags/tag25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7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60.xml"/><Relationship Id="rId1" Type="http://schemas.openxmlformats.org/officeDocument/2006/relationships/tags" Target="../tags/tag259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8.bin"/></Relationships>
</file>

<file path=ppt/slideLayouts/_rels/slideLayout1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5.emf"/><Relationship Id="rId2" Type="http://schemas.openxmlformats.org/officeDocument/2006/relationships/tags" Target="../tags/tag262.xml"/><Relationship Id="rId1" Type="http://schemas.openxmlformats.org/officeDocument/2006/relationships/tags" Target="../tags/tag261.x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10" Type="http://schemas.openxmlformats.org/officeDocument/2006/relationships/image" Target="../media/image8.emf"/><Relationship Id="rId4" Type="http://schemas.openxmlformats.org/officeDocument/2006/relationships/oleObject" Target="../embeddings/oleObject129.bin"/><Relationship Id="rId9" Type="http://schemas.openxmlformats.org/officeDocument/2006/relationships/image" Target="../media/image7.emf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64.xml"/><Relationship Id="rId1" Type="http://schemas.openxmlformats.org/officeDocument/2006/relationships/tags" Target="../tags/tag26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0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66.xml"/><Relationship Id="rId1" Type="http://schemas.openxmlformats.org/officeDocument/2006/relationships/tags" Target="../tags/tag26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1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68.xml"/><Relationship Id="rId1" Type="http://schemas.openxmlformats.org/officeDocument/2006/relationships/tags" Target="../tags/tag26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2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70.xml"/><Relationship Id="rId1" Type="http://schemas.openxmlformats.org/officeDocument/2006/relationships/tags" Target="../tags/tag269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3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72.xml"/><Relationship Id="rId1" Type="http://schemas.openxmlformats.org/officeDocument/2006/relationships/tags" Target="../tags/tag27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4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74.xml"/><Relationship Id="rId1" Type="http://schemas.openxmlformats.org/officeDocument/2006/relationships/tags" Target="../tags/tag27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5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tags" Target="../tags/tag277.xml"/><Relationship Id="rId2" Type="http://schemas.openxmlformats.org/officeDocument/2006/relationships/tags" Target="../tags/tag276.xml"/><Relationship Id="rId1" Type="http://schemas.openxmlformats.org/officeDocument/2006/relationships/tags" Target="../tags/tag275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6.bin"/><Relationship Id="rId4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tags" Target="../tags/tag280.xml"/><Relationship Id="rId2" Type="http://schemas.openxmlformats.org/officeDocument/2006/relationships/tags" Target="../tags/tag279.xml"/><Relationship Id="rId1" Type="http://schemas.openxmlformats.org/officeDocument/2006/relationships/tags" Target="../tags/tag278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7.bin"/><Relationship Id="rId4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82.xml"/><Relationship Id="rId1" Type="http://schemas.openxmlformats.org/officeDocument/2006/relationships/tags" Target="../tags/tag28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8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84.xml"/><Relationship Id="rId1" Type="http://schemas.openxmlformats.org/officeDocument/2006/relationships/tags" Target="../tags/tag28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9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86.xml"/><Relationship Id="rId1" Type="http://schemas.openxmlformats.org/officeDocument/2006/relationships/tags" Target="../tags/tag28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0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88.xml"/><Relationship Id="rId1" Type="http://schemas.openxmlformats.org/officeDocument/2006/relationships/tags" Target="../tags/tag28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1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90.xml"/><Relationship Id="rId1" Type="http://schemas.openxmlformats.org/officeDocument/2006/relationships/tags" Target="../tags/tag289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2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92.xml"/><Relationship Id="rId1" Type="http://schemas.openxmlformats.org/officeDocument/2006/relationships/tags" Target="../tags/tag29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3.bin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94.xml"/><Relationship Id="rId1" Type="http://schemas.openxmlformats.org/officeDocument/2006/relationships/tags" Target="../tags/tag29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4.bin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96.xml"/><Relationship Id="rId1" Type="http://schemas.openxmlformats.org/officeDocument/2006/relationships/tags" Target="../tags/tag29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5.bin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98.xml"/><Relationship Id="rId1" Type="http://schemas.openxmlformats.org/officeDocument/2006/relationships/tags" Target="../tags/tag29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6.bin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00.xml"/><Relationship Id="rId1" Type="http://schemas.openxmlformats.org/officeDocument/2006/relationships/tags" Target="../tags/tag299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7.bin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02.xml"/><Relationship Id="rId1" Type="http://schemas.openxmlformats.org/officeDocument/2006/relationships/tags" Target="../tags/tag30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8.bin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04.xml"/><Relationship Id="rId1" Type="http://schemas.openxmlformats.org/officeDocument/2006/relationships/tags" Target="../tags/tag30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9.bin"/></Relationships>
</file>

<file path=ppt/slideLayouts/_rels/slideLayout1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0.png"/><Relationship Id="rId2" Type="http://schemas.openxmlformats.org/officeDocument/2006/relationships/tags" Target="../tags/tag306.xml"/><Relationship Id="rId1" Type="http://schemas.openxmlformats.org/officeDocument/2006/relationships/tags" Target="../tags/tag305.xml"/><Relationship Id="rId6" Type="http://schemas.openxmlformats.org/officeDocument/2006/relationships/image" Target="../media/image14.jpeg"/><Relationship Id="rId5" Type="http://schemas.openxmlformats.org/officeDocument/2006/relationships/image" Target="../media/image1.emf"/><Relationship Id="rId10" Type="http://schemas.openxmlformats.org/officeDocument/2006/relationships/image" Target="../media/image13.png"/><Relationship Id="rId4" Type="http://schemas.openxmlformats.org/officeDocument/2006/relationships/oleObject" Target="../embeddings/oleObject150.bin"/><Relationship Id="rId9" Type="http://schemas.openxmlformats.org/officeDocument/2006/relationships/image" Target="../media/image12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09.xml"/><Relationship Id="rId1" Type="http://schemas.openxmlformats.org/officeDocument/2006/relationships/tags" Target="../tags/tag30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2.bin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11.xml"/><Relationship Id="rId1" Type="http://schemas.openxmlformats.org/officeDocument/2006/relationships/tags" Target="../tags/tag31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3.bin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13.xml"/><Relationship Id="rId1" Type="http://schemas.openxmlformats.org/officeDocument/2006/relationships/tags" Target="../tags/tag31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4.bin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15.xml"/><Relationship Id="rId1" Type="http://schemas.openxmlformats.org/officeDocument/2006/relationships/tags" Target="../tags/tag31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5.bin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17.xml"/><Relationship Id="rId1" Type="http://schemas.openxmlformats.org/officeDocument/2006/relationships/tags" Target="../tags/tag31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6.bin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19.xml"/><Relationship Id="rId1" Type="http://schemas.openxmlformats.org/officeDocument/2006/relationships/tags" Target="../tags/tag31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7.bin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21.xml"/><Relationship Id="rId1" Type="http://schemas.openxmlformats.org/officeDocument/2006/relationships/tags" Target="../tags/tag32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8.bin"/></Relationships>
</file>

<file path=ppt/slideLayouts/_rels/slideLayout1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5.emf"/><Relationship Id="rId2" Type="http://schemas.openxmlformats.org/officeDocument/2006/relationships/tags" Target="../tags/tag323.xml"/><Relationship Id="rId1" Type="http://schemas.openxmlformats.org/officeDocument/2006/relationships/tags" Target="../tags/tag322.x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10" Type="http://schemas.openxmlformats.org/officeDocument/2006/relationships/image" Target="../media/image8.emf"/><Relationship Id="rId4" Type="http://schemas.openxmlformats.org/officeDocument/2006/relationships/oleObject" Target="../embeddings/oleObject159.bin"/><Relationship Id="rId9" Type="http://schemas.openxmlformats.org/officeDocument/2006/relationships/image" Target="../media/image7.emf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25.xml"/><Relationship Id="rId1" Type="http://schemas.openxmlformats.org/officeDocument/2006/relationships/tags" Target="../tags/tag32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0.bin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27.xml"/><Relationship Id="rId1" Type="http://schemas.openxmlformats.org/officeDocument/2006/relationships/tags" Target="../tags/tag32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1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29.xml"/><Relationship Id="rId1" Type="http://schemas.openxmlformats.org/officeDocument/2006/relationships/tags" Target="../tags/tag32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2.bin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31.xml"/><Relationship Id="rId1" Type="http://schemas.openxmlformats.org/officeDocument/2006/relationships/tags" Target="../tags/tag33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3.bin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33.xml"/><Relationship Id="rId1" Type="http://schemas.openxmlformats.org/officeDocument/2006/relationships/tags" Target="../tags/tag33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4.bin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35.xml"/><Relationship Id="rId1" Type="http://schemas.openxmlformats.org/officeDocument/2006/relationships/tags" Target="../tags/tag33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5.bin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tags" Target="../tags/tag338.xml"/><Relationship Id="rId2" Type="http://schemas.openxmlformats.org/officeDocument/2006/relationships/tags" Target="../tags/tag337.xml"/><Relationship Id="rId1" Type="http://schemas.openxmlformats.org/officeDocument/2006/relationships/tags" Target="../tags/tag336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6.bin"/><Relationship Id="rId4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tags" Target="../tags/tag341.xml"/><Relationship Id="rId2" Type="http://schemas.openxmlformats.org/officeDocument/2006/relationships/tags" Target="../tags/tag340.xml"/><Relationship Id="rId1" Type="http://schemas.openxmlformats.org/officeDocument/2006/relationships/tags" Target="../tags/tag339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7.bin"/><Relationship Id="rId4" Type="http://schemas.openxmlformats.org/officeDocument/2006/relationships/slideMaster" Target="../slideMasters/slideMaster6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43.xml"/><Relationship Id="rId1" Type="http://schemas.openxmlformats.org/officeDocument/2006/relationships/tags" Target="../tags/tag34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8.bin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45.xml"/><Relationship Id="rId1" Type="http://schemas.openxmlformats.org/officeDocument/2006/relationships/tags" Target="../tags/tag34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9.bin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47.xml"/><Relationship Id="rId1" Type="http://schemas.openxmlformats.org/officeDocument/2006/relationships/tags" Target="../tags/tag34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0.bin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49.xml"/><Relationship Id="rId1" Type="http://schemas.openxmlformats.org/officeDocument/2006/relationships/tags" Target="../tags/tag34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1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51.xml"/><Relationship Id="rId1" Type="http://schemas.openxmlformats.org/officeDocument/2006/relationships/tags" Target="../tags/tag35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2.bin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53.xml"/><Relationship Id="rId1" Type="http://schemas.openxmlformats.org/officeDocument/2006/relationships/tags" Target="../tags/tag35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3.bin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55.xml"/><Relationship Id="rId1" Type="http://schemas.openxmlformats.org/officeDocument/2006/relationships/tags" Target="../tags/tag35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4.bin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57.xml"/><Relationship Id="rId1" Type="http://schemas.openxmlformats.org/officeDocument/2006/relationships/tags" Target="../tags/tag35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5.bin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59.xml"/><Relationship Id="rId1" Type="http://schemas.openxmlformats.org/officeDocument/2006/relationships/tags" Target="../tags/tag35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6.bin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61.xml"/><Relationship Id="rId1" Type="http://schemas.openxmlformats.org/officeDocument/2006/relationships/tags" Target="../tags/tag36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7.bin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63.xml"/><Relationship Id="rId1" Type="http://schemas.openxmlformats.org/officeDocument/2006/relationships/tags" Target="../tags/tag36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8.bin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0.png"/><Relationship Id="rId2" Type="http://schemas.openxmlformats.org/officeDocument/2006/relationships/tags" Target="../tags/tag365.xml"/><Relationship Id="rId1" Type="http://schemas.openxmlformats.org/officeDocument/2006/relationships/tags" Target="../tags/tag364.xml"/><Relationship Id="rId6" Type="http://schemas.openxmlformats.org/officeDocument/2006/relationships/image" Target="../media/image14.jpeg"/><Relationship Id="rId5" Type="http://schemas.openxmlformats.org/officeDocument/2006/relationships/image" Target="../media/image1.emf"/><Relationship Id="rId10" Type="http://schemas.openxmlformats.org/officeDocument/2006/relationships/image" Target="../media/image13.png"/><Relationship Id="rId4" Type="http://schemas.openxmlformats.org/officeDocument/2006/relationships/oleObject" Target="../embeddings/oleObject179.bin"/><Relationship Id="rId9" Type="http://schemas.openxmlformats.org/officeDocument/2006/relationships/image" Target="../media/image12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0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1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2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3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4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5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6.bin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emf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10" Type="http://schemas.openxmlformats.org/officeDocument/2006/relationships/image" Target="../media/image8.emf"/><Relationship Id="rId4" Type="http://schemas.openxmlformats.org/officeDocument/2006/relationships/oleObject" Target="../embeddings/oleObject37.bin"/><Relationship Id="rId9" Type="http://schemas.openxmlformats.org/officeDocument/2006/relationships/image" Target="../media/image7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8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9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0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1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3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6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7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8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9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0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1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2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3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4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5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6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7.bin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png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image" Target="../media/image9.jpeg"/><Relationship Id="rId5" Type="http://schemas.openxmlformats.org/officeDocument/2006/relationships/image" Target="../media/image3.emf"/><Relationship Id="rId10" Type="http://schemas.openxmlformats.org/officeDocument/2006/relationships/image" Target="../media/image13.png"/><Relationship Id="rId4" Type="http://schemas.openxmlformats.org/officeDocument/2006/relationships/oleObject" Target="../embeddings/oleObject58.bin"/><Relationship Id="rId9" Type="http://schemas.openxmlformats.org/officeDocument/2006/relationships/image" Target="../media/image12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png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image" Target="../media/image14.jpeg"/><Relationship Id="rId5" Type="http://schemas.openxmlformats.org/officeDocument/2006/relationships/image" Target="../media/image1.emf"/><Relationship Id="rId10" Type="http://schemas.openxmlformats.org/officeDocument/2006/relationships/image" Target="../media/image13.png"/><Relationship Id="rId4" Type="http://schemas.openxmlformats.org/officeDocument/2006/relationships/oleObject" Target="../embeddings/oleObject59.bin"/><Relationship Id="rId9" Type="http://schemas.openxmlformats.org/officeDocument/2006/relationships/image" Target="../media/image12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1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2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3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4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5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6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7.bin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emf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10" Type="http://schemas.openxmlformats.org/officeDocument/2006/relationships/image" Target="../media/image8.emf"/><Relationship Id="rId4" Type="http://schemas.openxmlformats.org/officeDocument/2006/relationships/oleObject" Target="../embeddings/oleObject68.bin"/><Relationship Id="rId9" Type="http://schemas.openxmlformats.org/officeDocument/2006/relationships/image" Target="../media/image7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9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0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1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2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3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4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153.xml"/><Relationship Id="rId2" Type="http://schemas.openxmlformats.org/officeDocument/2006/relationships/tags" Target="../tags/tag152.xml"/><Relationship Id="rId1" Type="http://schemas.openxmlformats.org/officeDocument/2006/relationships/tags" Target="../tags/tag15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5.bin"/><Relationship Id="rId4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156.xml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6.bin"/><Relationship Id="rId4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7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8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2.xml"/><Relationship Id="rId1" Type="http://schemas.openxmlformats.org/officeDocument/2006/relationships/tags" Target="../tags/tag16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9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emf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10" Type="http://schemas.openxmlformats.org/officeDocument/2006/relationships/image" Target="../media/image8.emf"/><Relationship Id="rId4" Type="http://schemas.openxmlformats.org/officeDocument/2006/relationships/oleObject" Target="../embeddings/oleObject9.bin"/><Relationship Id="rId9" Type="http://schemas.openxmlformats.org/officeDocument/2006/relationships/image" Target="../media/image7.emf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0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6.xml"/><Relationship Id="rId1" Type="http://schemas.openxmlformats.org/officeDocument/2006/relationships/tags" Target="../tags/tag16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1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2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3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2.xml"/><Relationship Id="rId1" Type="http://schemas.openxmlformats.org/officeDocument/2006/relationships/tags" Target="../tags/tag17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4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5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6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7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8.bin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0.png"/><Relationship Id="rId2" Type="http://schemas.openxmlformats.org/officeDocument/2006/relationships/tags" Target="../tags/tag182.xml"/><Relationship Id="rId1" Type="http://schemas.openxmlformats.org/officeDocument/2006/relationships/tags" Target="../tags/tag181.xml"/><Relationship Id="rId6" Type="http://schemas.openxmlformats.org/officeDocument/2006/relationships/image" Target="../media/image9.jpeg"/><Relationship Id="rId5" Type="http://schemas.openxmlformats.org/officeDocument/2006/relationships/image" Target="../media/image3.emf"/><Relationship Id="rId10" Type="http://schemas.openxmlformats.org/officeDocument/2006/relationships/image" Target="../media/image13.png"/><Relationship Id="rId4" Type="http://schemas.openxmlformats.org/officeDocument/2006/relationships/oleObject" Target="../embeddings/oleObject89.bin"/><Relationship Id="rId9" Type="http://schemas.openxmlformats.org/officeDocument/2006/relationships/image" Target="../media/image12.png"/></Relationships>
</file>

<file path=ppt/slideLayouts/_rels/slideLayout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0.png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6" Type="http://schemas.openxmlformats.org/officeDocument/2006/relationships/image" Target="../media/image14.jpeg"/><Relationship Id="rId5" Type="http://schemas.openxmlformats.org/officeDocument/2006/relationships/image" Target="../media/image1.emf"/><Relationship Id="rId10" Type="http://schemas.openxmlformats.org/officeDocument/2006/relationships/image" Target="../media/image13.png"/><Relationship Id="rId4" Type="http://schemas.openxmlformats.org/officeDocument/2006/relationships/oleObject" Target="../embeddings/oleObject90.bin"/><Relationship Id="rId9" Type="http://schemas.openxmlformats.org/officeDocument/2006/relationships/image" Target="../media/image12.pn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7.xml"/><Relationship Id="rId1" Type="http://schemas.openxmlformats.org/officeDocument/2006/relationships/tags" Target="../tags/tag18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2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3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1.xml"/><Relationship Id="rId1" Type="http://schemas.openxmlformats.org/officeDocument/2006/relationships/tags" Target="../tags/tag19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4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5.bin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5.xml"/><Relationship Id="rId1" Type="http://schemas.openxmlformats.org/officeDocument/2006/relationships/tags" Target="../tags/tag19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6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7.xml"/><Relationship Id="rId1" Type="http://schemas.openxmlformats.org/officeDocument/2006/relationships/tags" Target="../tags/tag19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7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8.bin"/></Relationships>
</file>

<file path=ppt/slideLayouts/_rels/slideLayout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emf"/><Relationship Id="rId2" Type="http://schemas.openxmlformats.org/officeDocument/2006/relationships/tags" Target="../tags/tag201.xml"/><Relationship Id="rId1" Type="http://schemas.openxmlformats.org/officeDocument/2006/relationships/tags" Target="../tags/tag200.x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10" Type="http://schemas.openxmlformats.org/officeDocument/2006/relationships/image" Target="../media/image8.emf"/><Relationship Id="rId4" Type="http://schemas.openxmlformats.org/officeDocument/2006/relationships/oleObject" Target="../embeddings/oleObject99.bin"/><Relationship Id="rId9" Type="http://schemas.openxmlformats.org/officeDocument/2006/relationships/image" Target="../media/image7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Strategy Slide -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0223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31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NTENTS PAGE/SLIDE WITH NUMBERS.</a:t>
            </a:r>
          </a:p>
        </p:txBody>
      </p:sp>
      <p:graphicFrame>
        <p:nvGraphicFramePr>
          <p:cNvPr id="12" name="Table 11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013238293"/>
              </p:ext>
            </p:extLst>
          </p:nvPr>
        </p:nvGraphicFramePr>
        <p:xfrm>
          <a:off x="725212" y="1553302"/>
          <a:ext cx="10773104" cy="4246129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94488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43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INTRODUCTION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6254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IRST TOPIC HER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  <a:endParaRPr lang="en-US" sz="1200" baseline="0">
                        <a:solidFill>
                          <a:schemeClr val="accent3"/>
                        </a:solidFill>
                      </a:endParaRP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Third Subject Heading Her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3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4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5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3682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ECOND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TOPIC HER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7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8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9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THIRD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0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OURTH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62546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IFTH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Third Subject Heading Her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8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19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20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2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IXTH TOPIC HERE.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2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EVENTH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TOPIC HER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4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7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8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4422285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 Strategy Slide - 6 Numbered Boxes with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54909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31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NUMBERED BOXES WITH TEXT.</a:t>
            </a:r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3044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.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73149" y="19337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841881" y="18508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41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9239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</a:t>
            </a:r>
            <a:endParaRPr lang="en-US"/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692649" y="19337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4461381" y="18508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613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5434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55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312149" y="19337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6" name="Oval 55"/>
          <p:cNvSpPr/>
          <p:nvPr userDrawn="1"/>
        </p:nvSpPr>
        <p:spPr>
          <a:xfrm>
            <a:off x="8080881" y="18508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080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13044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</a:t>
            </a:r>
            <a:endParaRPr lang="en-US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1073149" y="41689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23" name="Oval 22"/>
          <p:cNvSpPr/>
          <p:nvPr userDrawn="1"/>
        </p:nvSpPr>
        <p:spPr>
          <a:xfrm>
            <a:off x="841881" y="40860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8418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49239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4692649" y="41689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27" name="Oval 26"/>
          <p:cNvSpPr/>
          <p:nvPr userDrawn="1"/>
        </p:nvSpPr>
        <p:spPr>
          <a:xfrm>
            <a:off x="4461381" y="40860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8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44613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0" hasCustomPrompt="1"/>
          </p:nvPr>
        </p:nvSpPr>
        <p:spPr>
          <a:xfrm>
            <a:off x="85434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.</a:t>
            </a:r>
          </a:p>
        </p:txBody>
      </p:sp>
      <p:sp>
        <p:nvSpPr>
          <p:cNvPr id="30" name="Text Placeholder 8"/>
          <p:cNvSpPr>
            <a:spLocks noGrp="1"/>
          </p:cNvSpPr>
          <p:nvPr>
            <p:ph type="body" sz="quarter" idx="31" hasCustomPrompt="1"/>
          </p:nvPr>
        </p:nvSpPr>
        <p:spPr>
          <a:xfrm>
            <a:off x="8312149" y="41689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31" name="Oval 30"/>
          <p:cNvSpPr/>
          <p:nvPr userDrawn="1"/>
        </p:nvSpPr>
        <p:spPr>
          <a:xfrm>
            <a:off x="8080881" y="40860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2" name="Text Placeholder 10"/>
          <p:cNvSpPr>
            <a:spLocks noGrp="1"/>
          </p:cNvSpPr>
          <p:nvPr>
            <p:ph type="body" sz="quarter" idx="32" hasCustomPrompt="1"/>
          </p:nvPr>
        </p:nvSpPr>
        <p:spPr>
          <a:xfrm>
            <a:off x="80808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3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19057098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 Strategy Slide - 3 Numbered Boxes with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8339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58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NUMBERED BOXES WITH TEXT/BULLET POINTS.</a:t>
            </a:r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3044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73149" y="19337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841881" y="18508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41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9239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692649" y="19337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4461381" y="18508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613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5434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55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312149" y="19337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6" name="Oval 55"/>
          <p:cNvSpPr/>
          <p:nvPr userDrawn="1"/>
        </p:nvSpPr>
        <p:spPr>
          <a:xfrm>
            <a:off x="8080881" y="18508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080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10044206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 Strategy Slide - 6 Numbered Boxes with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042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31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NUMBERED BOXES WITH TEXT.</a:t>
            </a:r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3044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.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73149" y="19337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841881" y="18508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41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9239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</a:t>
            </a:r>
            <a:endParaRPr lang="en-US"/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692649" y="19337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4461381" y="18508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613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5434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55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312149" y="19337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6" name="Oval 55"/>
          <p:cNvSpPr/>
          <p:nvPr userDrawn="1"/>
        </p:nvSpPr>
        <p:spPr>
          <a:xfrm>
            <a:off x="8080881" y="18508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080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13044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</a:t>
            </a:r>
            <a:endParaRPr lang="en-US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1073149" y="41689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23" name="Oval 22"/>
          <p:cNvSpPr/>
          <p:nvPr userDrawn="1"/>
        </p:nvSpPr>
        <p:spPr>
          <a:xfrm>
            <a:off x="841881" y="40860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8418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49239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4692649" y="41689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27" name="Oval 26"/>
          <p:cNvSpPr/>
          <p:nvPr userDrawn="1"/>
        </p:nvSpPr>
        <p:spPr>
          <a:xfrm>
            <a:off x="4461381" y="40860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8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44613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0" hasCustomPrompt="1"/>
          </p:nvPr>
        </p:nvSpPr>
        <p:spPr>
          <a:xfrm>
            <a:off x="85434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.</a:t>
            </a:r>
          </a:p>
        </p:txBody>
      </p:sp>
      <p:sp>
        <p:nvSpPr>
          <p:cNvPr id="30" name="Text Placeholder 8"/>
          <p:cNvSpPr>
            <a:spLocks noGrp="1"/>
          </p:cNvSpPr>
          <p:nvPr>
            <p:ph type="body" sz="quarter" idx="31" hasCustomPrompt="1"/>
          </p:nvPr>
        </p:nvSpPr>
        <p:spPr>
          <a:xfrm>
            <a:off x="8312149" y="41689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31" name="Oval 30"/>
          <p:cNvSpPr/>
          <p:nvPr userDrawn="1"/>
        </p:nvSpPr>
        <p:spPr>
          <a:xfrm>
            <a:off x="8080881" y="40860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2" name="Text Placeholder 10"/>
          <p:cNvSpPr>
            <a:spLocks noGrp="1"/>
          </p:cNvSpPr>
          <p:nvPr>
            <p:ph type="body" sz="quarter" idx="32" hasCustomPrompt="1"/>
          </p:nvPr>
        </p:nvSpPr>
        <p:spPr>
          <a:xfrm>
            <a:off x="80808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3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66885699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 Strategy Slide - Intro Text, Bullets and On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919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548877" y="1568107"/>
            <a:ext cx="4324035" cy="4411663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ONE GRAPH/CHART AND TEXT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7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82056514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. Strategy Slide - 2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7870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WO GRAPHS/CHART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36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7"/>
            <a:ext cx="5116786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45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6198550" y="1876657"/>
            <a:ext cx="5116786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8549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198550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06062524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. Strategy Slide - 3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5875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1225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GRAPHS/CHART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40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6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4379234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7923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9" name="Chart Placeholder 4"/>
          <p:cNvSpPr>
            <a:spLocks noGrp="1"/>
          </p:cNvSpPr>
          <p:nvPr>
            <p:ph type="chart" sz="quarter" idx="18" hasCustomPrompt="1"/>
          </p:nvPr>
        </p:nvSpPr>
        <p:spPr>
          <a:xfrm>
            <a:off x="8046320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046319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99516841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. Strategy Slide - 6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9404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362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GRAPHS/CHART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40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8"/>
            <a:ext cx="3167517" cy="16417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6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4379234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9" name="Chart Placeholder 4"/>
          <p:cNvSpPr>
            <a:spLocks noGrp="1"/>
          </p:cNvSpPr>
          <p:nvPr>
            <p:ph type="chart" sz="quarter" idx="18" hasCustomPrompt="1"/>
          </p:nvPr>
        </p:nvSpPr>
        <p:spPr>
          <a:xfrm>
            <a:off x="8046320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8" name="Chart Placeholder 4"/>
          <p:cNvSpPr>
            <a:spLocks noGrp="1"/>
          </p:cNvSpPr>
          <p:nvPr>
            <p:ph type="chart" sz="quarter" idx="21" hasCustomPrompt="1"/>
          </p:nvPr>
        </p:nvSpPr>
        <p:spPr>
          <a:xfrm>
            <a:off x="725214" y="4293286"/>
            <a:ext cx="3167517" cy="16417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2521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23" hasCustomPrompt="1"/>
          </p:nvPr>
        </p:nvSpPr>
        <p:spPr>
          <a:xfrm>
            <a:off x="4379234" y="429328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7923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2" name="Chart Placeholder 4"/>
          <p:cNvSpPr>
            <a:spLocks noGrp="1"/>
          </p:cNvSpPr>
          <p:nvPr>
            <p:ph type="chart" sz="quarter" idx="25" hasCustomPrompt="1"/>
          </p:nvPr>
        </p:nvSpPr>
        <p:spPr>
          <a:xfrm>
            <a:off x="8046320" y="429328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046320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725214" y="3735977"/>
            <a:ext cx="1048862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09508541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. Strategy Slide - Table 9 Rows /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1324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78" imgH="377" progId="TCLayout.ActiveDocument.1">
                  <p:embed/>
                </p:oleObj>
              </mc:Choice>
              <mc:Fallback>
                <p:oleObj name="Diapositiva de think-cell" r:id="rId5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349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ABLE 9 ROWS AND 9 COLUMNS</a:t>
            </a:r>
          </a:p>
        </p:txBody>
      </p:sp>
      <p:graphicFrame>
        <p:nvGraphicFramePr>
          <p:cNvPr id="33" name="Group 3"/>
          <p:cNvGraphicFramePr>
            <a:graphicFrameLocks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07015666"/>
              </p:ext>
            </p:extLst>
          </p:nvPr>
        </p:nvGraphicFramePr>
        <p:xfrm>
          <a:off x="783770" y="1534944"/>
          <a:ext cx="10377812" cy="4317034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16969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3161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1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34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5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6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01930901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. Strategy Slide - Table 4 Rows /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0849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78" imgH="377" progId="TCLayout.ActiveDocument.1">
                  <p:embed/>
                </p:oleObj>
              </mc:Choice>
              <mc:Fallback>
                <p:oleObj name="Diapositiva de think-cell" r:id="rId5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511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ABLE 3 COLUMNS 4 ROWS</a:t>
            </a:r>
          </a:p>
        </p:txBody>
      </p:sp>
      <p:graphicFrame>
        <p:nvGraphicFramePr>
          <p:cNvPr id="34" name="Group 4"/>
          <p:cNvGraphicFramePr>
            <a:graphicFrameLocks noGrp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61774915"/>
              </p:ext>
            </p:extLst>
          </p:nvPr>
        </p:nvGraphicFramePr>
        <p:xfrm>
          <a:off x="954157" y="1584125"/>
          <a:ext cx="10207427" cy="4260849"/>
        </p:xfrm>
        <a:graphic>
          <a:graphicData uri="http://schemas.openxmlformats.org/drawingml/2006/table">
            <a:tbl>
              <a:tblPr/>
              <a:tblGrid>
                <a:gridCol w="11565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1942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endParaRPr kumimoji="0" lang="en-US" sz="1100" b="0" i="1" u="none" strike="noStrike" cap="none" normalizeH="0" baseline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</a:endParaRP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71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..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9141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9383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3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889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4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32668552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. Strategy Slide - 1 Tab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745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4" hasCustomPrompt="1"/>
          </p:nvPr>
        </p:nvSpPr>
        <p:spPr>
          <a:xfrm>
            <a:off x="7547605" y="1568107"/>
            <a:ext cx="4325307" cy="441166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033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ONE TABLE AND TEXT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7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29456841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. Strategy Slide - 2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8060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WO TABLE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8549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198550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15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725213" y="1876657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6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6198548" y="1876657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9232243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 Strategy Slide - Intro Text, Bullets and On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5987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548877" y="1568107"/>
            <a:ext cx="4324035" cy="4411663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ONE GRAPH/CHART AND TEXT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7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70788151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. Strategy Slide - 3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8973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TABLE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7923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046319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8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725213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9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4379232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0" name="Table Placeholder 5"/>
          <p:cNvSpPr>
            <a:spLocks noGrp="1"/>
          </p:cNvSpPr>
          <p:nvPr>
            <p:ph type="tbl" sz="quarter" idx="23" hasCustomPrompt="1"/>
          </p:nvPr>
        </p:nvSpPr>
        <p:spPr>
          <a:xfrm>
            <a:off x="8033882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12868159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. Strategy Slide - 6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4170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67971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TABLES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2521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7923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046320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725214" y="3735977"/>
            <a:ext cx="1048862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able Placeholder 5"/>
          <p:cNvSpPr>
            <a:spLocks noGrp="1"/>
          </p:cNvSpPr>
          <p:nvPr>
            <p:ph type="tbl" sz="quarter" idx="27" hasCustomPrompt="1"/>
          </p:nvPr>
        </p:nvSpPr>
        <p:spPr>
          <a:xfrm>
            <a:off x="725213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5" name="Table Placeholder 5"/>
          <p:cNvSpPr>
            <a:spLocks noGrp="1"/>
          </p:cNvSpPr>
          <p:nvPr>
            <p:ph type="tbl" sz="quarter" idx="28" hasCustomPrompt="1"/>
          </p:nvPr>
        </p:nvSpPr>
        <p:spPr>
          <a:xfrm>
            <a:off x="4379233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6" name="Table Placeholder 5"/>
          <p:cNvSpPr>
            <a:spLocks noGrp="1"/>
          </p:cNvSpPr>
          <p:nvPr>
            <p:ph type="tbl" sz="quarter" idx="29" hasCustomPrompt="1"/>
          </p:nvPr>
        </p:nvSpPr>
        <p:spPr>
          <a:xfrm>
            <a:off x="8046320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7" name="Table Placeholder 5"/>
          <p:cNvSpPr>
            <a:spLocks noGrp="1"/>
          </p:cNvSpPr>
          <p:nvPr>
            <p:ph type="tbl" sz="quarter" idx="30" hasCustomPrompt="1"/>
          </p:nvPr>
        </p:nvSpPr>
        <p:spPr>
          <a:xfrm>
            <a:off x="725213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8" name="Table Placeholder 5"/>
          <p:cNvSpPr>
            <a:spLocks noGrp="1"/>
          </p:cNvSpPr>
          <p:nvPr>
            <p:ph type="tbl" sz="quarter" idx="31" hasCustomPrompt="1"/>
          </p:nvPr>
        </p:nvSpPr>
        <p:spPr>
          <a:xfrm>
            <a:off x="4379233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9" name="Table Placeholder 5"/>
          <p:cNvSpPr>
            <a:spLocks noGrp="1"/>
          </p:cNvSpPr>
          <p:nvPr>
            <p:ph type="tbl" sz="quarter" idx="32" hasCustomPrompt="1"/>
          </p:nvPr>
        </p:nvSpPr>
        <p:spPr>
          <a:xfrm>
            <a:off x="8046320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99898821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. Strategy Slide - Process Closed Lo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86396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472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PROCESS CLOSED LOOP WITH INTRO TEXT AND BULLETS</a:t>
            </a:r>
          </a:p>
        </p:txBody>
      </p:sp>
      <p:grpSp>
        <p:nvGrpSpPr>
          <p:cNvPr id="33" name="Group 32"/>
          <p:cNvGrpSpPr/>
          <p:nvPr userDrawn="1"/>
        </p:nvGrpSpPr>
        <p:grpSpPr>
          <a:xfrm>
            <a:off x="6152742" y="1530826"/>
            <a:ext cx="5205413" cy="4535487"/>
            <a:chOff x="1905000" y="1773238"/>
            <a:chExt cx="5205413" cy="4535487"/>
          </a:xfrm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34" name="Freeform 33"/>
            <p:cNvSpPr>
              <a:spLocks/>
            </p:cNvSpPr>
            <p:nvPr/>
          </p:nvSpPr>
          <p:spPr bwMode="blackWhite">
            <a:xfrm>
              <a:off x="5729288" y="3216275"/>
              <a:ext cx="1381125" cy="1874838"/>
            </a:xfrm>
            <a:custGeom>
              <a:avLst/>
              <a:gdLst>
                <a:gd name="T0" fmla="*/ 461616 w 852"/>
                <a:gd name="T1" fmla="*/ 1873218 h 1157"/>
                <a:gd name="T2" fmla="*/ 1493670 w 852"/>
                <a:gd name="T3" fmla="*/ 1852152 h 1157"/>
                <a:gd name="T4" fmla="*/ 1172469 w 852"/>
                <a:gd name="T5" fmla="*/ 1672284 h 1157"/>
                <a:gd name="T6" fmla="*/ 1233901 w 852"/>
                <a:gd name="T7" fmla="*/ 1552372 h 1157"/>
                <a:gd name="T8" fmla="*/ 1286557 w 852"/>
                <a:gd name="T9" fmla="*/ 1429219 h 1157"/>
                <a:gd name="T10" fmla="*/ 1330437 w 852"/>
                <a:gd name="T11" fmla="*/ 1302826 h 1157"/>
                <a:gd name="T12" fmla="*/ 1360275 w 852"/>
                <a:gd name="T13" fmla="*/ 1171571 h 1157"/>
                <a:gd name="T14" fmla="*/ 1386603 w 852"/>
                <a:gd name="T15" fmla="*/ 1040316 h 1157"/>
                <a:gd name="T16" fmla="*/ 1400645 w 852"/>
                <a:gd name="T17" fmla="*/ 909061 h 1157"/>
                <a:gd name="T18" fmla="*/ 1405910 w 852"/>
                <a:gd name="T19" fmla="*/ 774566 h 1157"/>
                <a:gd name="T20" fmla="*/ 1400645 w 852"/>
                <a:gd name="T21" fmla="*/ 640070 h 1157"/>
                <a:gd name="T22" fmla="*/ 1384848 w 852"/>
                <a:gd name="T23" fmla="*/ 508815 h 1157"/>
                <a:gd name="T24" fmla="*/ 1360275 w 852"/>
                <a:gd name="T25" fmla="*/ 377560 h 1157"/>
                <a:gd name="T26" fmla="*/ 1326926 w 852"/>
                <a:gd name="T27" fmla="*/ 247926 h 1157"/>
                <a:gd name="T28" fmla="*/ 1281291 w 852"/>
                <a:gd name="T29" fmla="*/ 121532 h 1157"/>
                <a:gd name="T30" fmla="*/ 1230391 w 852"/>
                <a:gd name="T31" fmla="*/ 0 h 1157"/>
                <a:gd name="T32" fmla="*/ 956581 w 852"/>
                <a:gd name="T33" fmla="*/ 479647 h 1157"/>
                <a:gd name="T34" fmla="*/ 365080 w 852"/>
                <a:gd name="T35" fmla="*/ 471545 h 1157"/>
                <a:gd name="T36" fmla="*/ 389653 w 852"/>
                <a:gd name="T37" fmla="*/ 559048 h 1157"/>
                <a:gd name="T38" fmla="*/ 405450 w 852"/>
                <a:gd name="T39" fmla="*/ 651413 h 1157"/>
                <a:gd name="T40" fmla="*/ 412470 w 852"/>
                <a:gd name="T41" fmla="*/ 743777 h 1157"/>
                <a:gd name="T42" fmla="*/ 410715 w 852"/>
                <a:gd name="T43" fmla="*/ 832901 h 1157"/>
                <a:gd name="T44" fmla="*/ 401939 w 852"/>
                <a:gd name="T45" fmla="*/ 925266 h 1157"/>
                <a:gd name="T46" fmla="*/ 380877 w 852"/>
                <a:gd name="T47" fmla="*/ 1016010 h 1157"/>
                <a:gd name="T48" fmla="*/ 356304 w 852"/>
                <a:gd name="T49" fmla="*/ 1106754 h 1157"/>
                <a:gd name="T50" fmla="*/ 317690 w 852"/>
                <a:gd name="T51" fmla="*/ 1189396 h 1157"/>
                <a:gd name="T52" fmla="*/ 0 w 852"/>
                <a:gd name="T53" fmla="*/ 1017630 h 1157"/>
                <a:gd name="T54" fmla="*/ 461616 w 852"/>
                <a:gd name="T55" fmla="*/ 1873218 h 115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852"/>
                <a:gd name="T85" fmla="*/ 0 h 1157"/>
                <a:gd name="T86" fmla="*/ 852 w 852"/>
                <a:gd name="T87" fmla="*/ 1157 h 115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852" h="1157">
                  <a:moveTo>
                    <a:pt x="263" y="1156"/>
                  </a:moveTo>
                  <a:lnTo>
                    <a:pt x="851" y="1143"/>
                  </a:lnTo>
                  <a:lnTo>
                    <a:pt x="668" y="1032"/>
                  </a:lnTo>
                  <a:lnTo>
                    <a:pt x="703" y="958"/>
                  </a:lnTo>
                  <a:lnTo>
                    <a:pt x="733" y="882"/>
                  </a:lnTo>
                  <a:lnTo>
                    <a:pt x="758" y="804"/>
                  </a:lnTo>
                  <a:lnTo>
                    <a:pt x="775" y="723"/>
                  </a:lnTo>
                  <a:lnTo>
                    <a:pt x="790" y="642"/>
                  </a:lnTo>
                  <a:lnTo>
                    <a:pt x="798" y="561"/>
                  </a:lnTo>
                  <a:lnTo>
                    <a:pt x="801" y="478"/>
                  </a:lnTo>
                  <a:lnTo>
                    <a:pt x="798" y="395"/>
                  </a:lnTo>
                  <a:lnTo>
                    <a:pt x="789" y="314"/>
                  </a:lnTo>
                  <a:lnTo>
                    <a:pt x="775" y="233"/>
                  </a:lnTo>
                  <a:lnTo>
                    <a:pt x="756" y="153"/>
                  </a:lnTo>
                  <a:lnTo>
                    <a:pt x="730" y="75"/>
                  </a:lnTo>
                  <a:lnTo>
                    <a:pt x="701" y="0"/>
                  </a:lnTo>
                  <a:lnTo>
                    <a:pt x="545" y="296"/>
                  </a:lnTo>
                  <a:lnTo>
                    <a:pt x="208" y="291"/>
                  </a:lnTo>
                  <a:lnTo>
                    <a:pt x="222" y="345"/>
                  </a:lnTo>
                  <a:lnTo>
                    <a:pt x="231" y="402"/>
                  </a:lnTo>
                  <a:lnTo>
                    <a:pt x="235" y="459"/>
                  </a:lnTo>
                  <a:lnTo>
                    <a:pt x="234" y="514"/>
                  </a:lnTo>
                  <a:lnTo>
                    <a:pt x="229" y="571"/>
                  </a:lnTo>
                  <a:lnTo>
                    <a:pt x="217" y="627"/>
                  </a:lnTo>
                  <a:lnTo>
                    <a:pt x="203" y="683"/>
                  </a:lnTo>
                  <a:lnTo>
                    <a:pt x="181" y="734"/>
                  </a:lnTo>
                  <a:lnTo>
                    <a:pt x="0" y="628"/>
                  </a:lnTo>
                  <a:lnTo>
                    <a:pt x="263" y="1156"/>
                  </a:lnTo>
                </a:path>
              </a:pathLst>
            </a:custGeom>
            <a:solidFill>
              <a:schemeClr val="accent3"/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blackWhite">
            <a:xfrm>
              <a:off x="5221288" y="2070100"/>
              <a:ext cx="1797050" cy="1557338"/>
            </a:xfrm>
            <a:custGeom>
              <a:avLst/>
              <a:gdLst>
                <a:gd name="T0" fmla="*/ 2147483647 w 1109"/>
                <a:gd name="T1" fmla="*/ 2147483647 h 962"/>
                <a:gd name="T2" fmla="*/ 2147483647 w 1109"/>
                <a:gd name="T3" fmla="*/ 2147483647 h 962"/>
                <a:gd name="T4" fmla="*/ 2147483647 w 1109"/>
                <a:gd name="T5" fmla="*/ 2147483647 h 962"/>
                <a:gd name="T6" fmla="*/ 2147483647 w 1109"/>
                <a:gd name="T7" fmla="*/ 2147483647 h 962"/>
                <a:gd name="T8" fmla="*/ 2147483647 w 1109"/>
                <a:gd name="T9" fmla="*/ 2147483647 h 962"/>
                <a:gd name="T10" fmla="*/ 2147483647 w 1109"/>
                <a:gd name="T11" fmla="*/ 2147483647 h 962"/>
                <a:gd name="T12" fmla="*/ 2147483647 w 1109"/>
                <a:gd name="T13" fmla="*/ 2147483647 h 962"/>
                <a:gd name="T14" fmla="*/ 2147483647 w 1109"/>
                <a:gd name="T15" fmla="*/ 2147483647 h 962"/>
                <a:gd name="T16" fmla="*/ 2147483647 w 1109"/>
                <a:gd name="T17" fmla="*/ 2147483647 h 962"/>
                <a:gd name="T18" fmla="*/ 2147483647 w 1109"/>
                <a:gd name="T19" fmla="*/ 2147483647 h 962"/>
                <a:gd name="T20" fmla="*/ 2147483647 w 1109"/>
                <a:gd name="T21" fmla="*/ 2147483647 h 962"/>
                <a:gd name="T22" fmla="*/ 2147483647 w 1109"/>
                <a:gd name="T23" fmla="*/ 2147483647 h 962"/>
                <a:gd name="T24" fmla="*/ 2147483647 w 1109"/>
                <a:gd name="T25" fmla="*/ 2147483647 h 962"/>
                <a:gd name="T26" fmla="*/ 2147483647 w 1109"/>
                <a:gd name="T27" fmla="*/ 2147483647 h 962"/>
                <a:gd name="T28" fmla="*/ 2147483647 w 1109"/>
                <a:gd name="T29" fmla="*/ 2147483647 h 962"/>
                <a:gd name="T30" fmla="*/ 2147483647 w 1109"/>
                <a:gd name="T31" fmla="*/ 2147483647 h 962"/>
                <a:gd name="T32" fmla="*/ 2147483647 w 1109"/>
                <a:gd name="T33" fmla="*/ 2147483647 h 962"/>
                <a:gd name="T34" fmla="*/ 2147483647 w 1109"/>
                <a:gd name="T35" fmla="*/ 2147483647 h 962"/>
                <a:gd name="T36" fmla="*/ 2147483647 w 1109"/>
                <a:gd name="T37" fmla="*/ 2147483647 h 962"/>
                <a:gd name="T38" fmla="*/ 0 w 1109"/>
                <a:gd name="T39" fmla="*/ 0 h 962"/>
                <a:gd name="T40" fmla="*/ 2147483647 w 1109"/>
                <a:gd name="T41" fmla="*/ 2147483647 h 962"/>
                <a:gd name="T42" fmla="*/ 2147483647 w 1109"/>
                <a:gd name="T43" fmla="*/ 2147483647 h 962"/>
                <a:gd name="T44" fmla="*/ 2147483647 w 1109"/>
                <a:gd name="T45" fmla="*/ 2147483647 h 962"/>
                <a:gd name="T46" fmla="*/ 2147483647 w 1109"/>
                <a:gd name="T47" fmla="*/ 2147483647 h 962"/>
                <a:gd name="T48" fmla="*/ 2147483647 w 1109"/>
                <a:gd name="T49" fmla="*/ 2147483647 h 962"/>
                <a:gd name="T50" fmla="*/ 2147483647 w 1109"/>
                <a:gd name="T51" fmla="*/ 2147483647 h 962"/>
                <a:gd name="T52" fmla="*/ 2147483647 w 1109"/>
                <a:gd name="T53" fmla="*/ 2147483647 h 962"/>
                <a:gd name="T54" fmla="*/ 2147483647 w 1109"/>
                <a:gd name="T55" fmla="*/ 2147483647 h 962"/>
                <a:gd name="T56" fmla="*/ 2147483647 w 1109"/>
                <a:gd name="T57" fmla="*/ 2147483647 h 962"/>
                <a:gd name="T58" fmla="*/ 2147483647 w 1109"/>
                <a:gd name="T59" fmla="*/ 2147483647 h 962"/>
                <a:gd name="T60" fmla="*/ 2147483647 w 1109"/>
                <a:gd name="T61" fmla="*/ 2147483647 h 9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109"/>
                <a:gd name="T94" fmla="*/ 0 h 962"/>
                <a:gd name="T95" fmla="*/ 1109 w 1109"/>
                <a:gd name="T96" fmla="*/ 962 h 9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109" h="962">
                  <a:moveTo>
                    <a:pt x="246" y="959"/>
                  </a:moveTo>
                  <a:lnTo>
                    <a:pt x="839" y="961"/>
                  </a:lnTo>
                  <a:lnTo>
                    <a:pt x="934" y="786"/>
                  </a:lnTo>
                  <a:lnTo>
                    <a:pt x="1023" y="611"/>
                  </a:lnTo>
                  <a:lnTo>
                    <a:pt x="1108" y="429"/>
                  </a:lnTo>
                  <a:lnTo>
                    <a:pt x="930" y="539"/>
                  </a:lnTo>
                  <a:lnTo>
                    <a:pt x="885" y="471"/>
                  </a:lnTo>
                  <a:lnTo>
                    <a:pt x="837" y="406"/>
                  </a:lnTo>
                  <a:lnTo>
                    <a:pt x="783" y="344"/>
                  </a:lnTo>
                  <a:lnTo>
                    <a:pt x="724" y="287"/>
                  </a:lnTo>
                  <a:lnTo>
                    <a:pt x="663" y="235"/>
                  </a:lnTo>
                  <a:lnTo>
                    <a:pt x="598" y="188"/>
                  </a:lnTo>
                  <a:lnTo>
                    <a:pt x="530" y="145"/>
                  </a:lnTo>
                  <a:lnTo>
                    <a:pt x="460" y="107"/>
                  </a:lnTo>
                  <a:lnTo>
                    <a:pt x="387" y="75"/>
                  </a:lnTo>
                  <a:lnTo>
                    <a:pt x="311" y="48"/>
                  </a:lnTo>
                  <a:lnTo>
                    <a:pt x="236" y="27"/>
                  </a:lnTo>
                  <a:lnTo>
                    <a:pt x="158" y="12"/>
                  </a:lnTo>
                  <a:lnTo>
                    <a:pt x="79" y="2"/>
                  </a:lnTo>
                  <a:lnTo>
                    <a:pt x="0" y="0"/>
                  </a:lnTo>
                  <a:lnTo>
                    <a:pt x="210" y="277"/>
                  </a:lnTo>
                  <a:lnTo>
                    <a:pt x="80" y="601"/>
                  </a:lnTo>
                  <a:lnTo>
                    <a:pt x="134" y="614"/>
                  </a:lnTo>
                  <a:lnTo>
                    <a:pt x="186" y="631"/>
                  </a:lnTo>
                  <a:lnTo>
                    <a:pt x="236" y="654"/>
                  </a:lnTo>
                  <a:lnTo>
                    <a:pt x="283" y="681"/>
                  </a:lnTo>
                  <a:lnTo>
                    <a:pt x="328" y="715"/>
                  </a:lnTo>
                  <a:lnTo>
                    <a:pt x="370" y="752"/>
                  </a:lnTo>
                  <a:lnTo>
                    <a:pt x="408" y="792"/>
                  </a:lnTo>
                  <a:lnTo>
                    <a:pt x="446" y="837"/>
                  </a:lnTo>
                  <a:lnTo>
                    <a:pt x="246" y="959"/>
                  </a:lnTo>
                </a:path>
              </a:pathLst>
            </a:custGeom>
            <a:solidFill>
              <a:schemeClr val="accent3">
                <a:lumMod val="75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/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blackWhite">
            <a:xfrm>
              <a:off x="1905000" y="1773238"/>
              <a:ext cx="3573463" cy="1779587"/>
            </a:xfrm>
            <a:custGeom>
              <a:avLst/>
              <a:gdLst>
                <a:gd name="T0" fmla="*/ 0 w 2206"/>
                <a:gd name="T1" fmla="*/ 2147483647 h 1099"/>
                <a:gd name="T2" fmla="*/ 2147483647 w 2206"/>
                <a:gd name="T3" fmla="*/ 2147483647 h 1099"/>
                <a:gd name="T4" fmla="*/ 2147483647 w 2206"/>
                <a:gd name="T5" fmla="*/ 2147483647 h 1099"/>
                <a:gd name="T6" fmla="*/ 2147483647 w 2206"/>
                <a:gd name="T7" fmla="*/ 2147483647 h 1099"/>
                <a:gd name="T8" fmla="*/ 2147483647 w 2206"/>
                <a:gd name="T9" fmla="*/ 2147483647 h 1099"/>
                <a:gd name="T10" fmla="*/ 2147483647 w 2206"/>
                <a:gd name="T11" fmla="*/ 2147483647 h 1099"/>
                <a:gd name="T12" fmla="*/ 2147483647 w 2206"/>
                <a:gd name="T13" fmla="*/ 2147483647 h 1099"/>
                <a:gd name="T14" fmla="*/ 2147483647 w 2206"/>
                <a:gd name="T15" fmla="*/ 2147483647 h 1099"/>
                <a:gd name="T16" fmla="*/ 2147483647 w 2206"/>
                <a:gd name="T17" fmla="*/ 2147483647 h 1099"/>
                <a:gd name="T18" fmla="*/ 2147483647 w 2206"/>
                <a:gd name="T19" fmla="*/ 2147483647 h 1099"/>
                <a:gd name="T20" fmla="*/ 2147483647 w 2206"/>
                <a:gd name="T21" fmla="*/ 2147483647 h 1099"/>
                <a:gd name="T22" fmla="*/ 2147483647 w 2206"/>
                <a:gd name="T23" fmla="*/ 2147483647 h 1099"/>
                <a:gd name="T24" fmla="*/ 2147483647 w 2206"/>
                <a:gd name="T25" fmla="*/ 2147483647 h 1099"/>
                <a:gd name="T26" fmla="*/ 2147483647 w 2206"/>
                <a:gd name="T27" fmla="*/ 2147483647 h 1099"/>
                <a:gd name="T28" fmla="*/ 2147483647 w 2206"/>
                <a:gd name="T29" fmla="*/ 0 h 1099"/>
                <a:gd name="T30" fmla="*/ 2147483647 w 2206"/>
                <a:gd name="T31" fmla="*/ 2147483647 h 1099"/>
                <a:gd name="T32" fmla="*/ 0 w 2206"/>
                <a:gd name="T33" fmla="*/ 2147483647 h 1099"/>
                <a:gd name="T34" fmla="*/ 0 w 2206"/>
                <a:gd name="T35" fmla="*/ 2147483647 h 109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206"/>
                <a:gd name="T55" fmla="*/ 0 h 1099"/>
                <a:gd name="T56" fmla="*/ 2206 w 2206"/>
                <a:gd name="T57" fmla="*/ 1099 h 109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206" h="1099">
                  <a:moveTo>
                    <a:pt x="0" y="864"/>
                  </a:moveTo>
                  <a:lnTo>
                    <a:pt x="1339" y="864"/>
                  </a:lnTo>
                  <a:lnTo>
                    <a:pt x="1552" y="1098"/>
                  </a:lnTo>
                  <a:lnTo>
                    <a:pt x="1587" y="1045"/>
                  </a:lnTo>
                  <a:lnTo>
                    <a:pt x="1625" y="996"/>
                  </a:lnTo>
                  <a:lnTo>
                    <a:pt x="1666" y="948"/>
                  </a:lnTo>
                  <a:lnTo>
                    <a:pt x="1711" y="906"/>
                  </a:lnTo>
                  <a:lnTo>
                    <a:pt x="1754" y="872"/>
                  </a:lnTo>
                  <a:lnTo>
                    <a:pt x="1800" y="845"/>
                  </a:lnTo>
                  <a:lnTo>
                    <a:pt x="1850" y="822"/>
                  </a:lnTo>
                  <a:lnTo>
                    <a:pt x="1900" y="803"/>
                  </a:lnTo>
                  <a:lnTo>
                    <a:pt x="1953" y="790"/>
                  </a:lnTo>
                  <a:lnTo>
                    <a:pt x="1983" y="1013"/>
                  </a:lnTo>
                  <a:lnTo>
                    <a:pt x="2205" y="471"/>
                  </a:lnTo>
                  <a:lnTo>
                    <a:pt x="1872" y="0"/>
                  </a:lnTo>
                  <a:lnTo>
                    <a:pt x="1873" y="196"/>
                  </a:lnTo>
                  <a:lnTo>
                    <a:pt x="0" y="196"/>
                  </a:lnTo>
                  <a:lnTo>
                    <a:pt x="0" y="864"/>
                  </a:lnTo>
                </a:path>
              </a:pathLst>
            </a:custGeom>
            <a:solidFill>
              <a:schemeClr val="accent3">
                <a:lumMod val="5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/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blackWhite">
            <a:xfrm>
              <a:off x="4867275" y="4592638"/>
              <a:ext cx="1806575" cy="1716087"/>
            </a:xfrm>
            <a:custGeom>
              <a:avLst/>
              <a:gdLst>
                <a:gd name="T0" fmla="*/ 0 w 1115"/>
                <a:gd name="T1" fmla="*/ 857233 h 1059"/>
                <a:gd name="T2" fmla="*/ 489786 w 1115"/>
                <a:gd name="T3" fmla="*/ 1714467 h 1059"/>
                <a:gd name="T4" fmla="*/ 489786 w 1115"/>
                <a:gd name="T5" fmla="*/ 1320690 h 1059"/>
                <a:gd name="T6" fmla="*/ 619693 w 1115"/>
                <a:gd name="T7" fmla="*/ 1309347 h 1059"/>
                <a:gd name="T8" fmla="*/ 753111 w 1115"/>
                <a:gd name="T9" fmla="*/ 1288280 h 1059"/>
                <a:gd name="T10" fmla="*/ 881263 w 1115"/>
                <a:gd name="T11" fmla="*/ 1259112 h 1059"/>
                <a:gd name="T12" fmla="*/ 1005904 w 1115"/>
                <a:gd name="T13" fmla="*/ 1221841 h 1059"/>
                <a:gd name="T14" fmla="*/ 1128789 w 1115"/>
                <a:gd name="T15" fmla="*/ 1176467 h 1059"/>
                <a:gd name="T16" fmla="*/ 1249919 w 1115"/>
                <a:gd name="T17" fmla="*/ 1122992 h 1059"/>
                <a:gd name="T18" fmla="*/ 1365782 w 1115"/>
                <a:gd name="T19" fmla="*/ 1061413 h 1059"/>
                <a:gd name="T20" fmla="*/ 1479890 w 1115"/>
                <a:gd name="T21" fmla="*/ 993353 h 1059"/>
                <a:gd name="T22" fmla="*/ 1581709 w 1115"/>
                <a:gd name="T23" fmla="*/ 913950 h 1059"/>
                <a:gd name="T24" fmla="*/ 1687039 w 1115"/>
                <a:gd name="T25" fmla="*/ 831306 h 1059"/>
                <a:gd name="T26" fmla="*/ 1781836 w 1115"/>
                <a:gd name="T27" fmla="*/ 738938 h 1059"/>
                <a:gd name="T28" fmla="*/ 1874878 w 1115"/>
                <a:gd name="T29" fmla="*/ 640089 h 1059"/>
                <a:gd name="T30" fmla="*/ 1955631 w 1115"/>
                <a:gd name="T31" fmla="*/ 539619 h 1059"/>
                <a:gd name="T32" fmla="*/ 1362271 w 1115"/>
                <a:gd name="T33" fmla="*/ 570408 h 1059"/>
                <a:gd name="T34" fmla="*/ 1093679 w 1115"/>
                <a:gd name="T35" fmla="*/ 58337 h 1059"/>
                <a:gd name="T36" fmla="*/ 1037503 w 1115"/>
                <a:gd name="T37" fmla="*/ 111813 h 1059"/>
                <a:gd name="T38" fmla="*/ 977816 w 1115"/>
                <a:gd name="T39" fmla="*/ 158807 h 1059"/>
                <a:gd name="T40" fmla="*/ 905840 w 1115"/>
                <a:gd name="T41" fmla="*/ 207421 h 1059"/>
                <a:gd name="T42" fmla="*/ 828598 w 1115"/>
                <a:gd name="T43" fmla="*/ 254415 h 1059"/>
                <a:gd name="T44" fmla="*/ 746089 w 1115"/>
                <a:gd name="T45" fmla="*/ 288445 h 1059"/>
                <a:gd name="T46" fmla="*/ 665336 w 1115"/>
                <a:gd name="T47" fmla="*/ 319234 h 1059"/>
                <a:gd name="T48" fmla="*/ 579316 w 1115"/>
                <a:gd name="T49" fmla="*/ 341921 h 1059"/>
                <a:gd name="T50" fmla="*/ 489786 w 1115"/>
                <a:gd name="T51" fmla="*/ 356505 h 1059"/>
                <a:gd name="T52" fmla="*/ 489786 w 1115"/>
                <a:gd name="T53" fmla="*/ 0 h 1059"/>
                <a:gd name="T54" fmla="*/ 0 w 1115"/>
                <a:gd name="T55" fmla="*/ 857233 h 1059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115"/>
                <a:gd name="T85" fmla="*/ 0 h 1059"/>
                <a:gd name="T86" fmla="*/ 1115 w 1115"/>
                <a:gd name="T87" fmla="*/ 1059 h 1059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115" h="1059">
                  <a:moveTo>
                    <a:pt x="0" y="529"/>
                  </a:moveTo>
                  <a:lnTo>
                    <a:pt x="279" y="1058"/>
                  </a:lnTo>
                  <a:lnTo>
                    <a:pt x="279" y="815"/>
                  </a:lnTo>
                  <a:lnTo>
                    <a:pt x="353" y="808"/>
                  </a:lnTo>
                  <a:lnTo>
                    <a:pt x="429" y="795"/>
                  </a:lnTo>
                  <a:lnTo>
                    <a:pt x="502" y="777"/>
                  </a:lnTo>
                  <a:lnTo>
                    <a:pt x="573" y="754"/>
                  </a:lnTo>
                  <a:lnTo>
                    <a:pt x="643" y="726"/>
                  </a:lnTo>
                  <a:lnTo>
                    <a:pt x="712" y="693"/>
                  </a:lnTo>
                  <a:lnTo>
                    <a:pt x="778" y="655"/>
                  </a:lnTo>
                  <a:lnTo>
                    <a:pt x="843" y="613"/>
                  </a:lnTo>
                  <a:lnTo>
                    <a:pt x="901" y="564"/>
                  </a:lnTo>
                  <a:lnTo>
                    <a:pt x="961" y="513"/>
                  </a:lnTo>
                  <a:lnTo>
                    <a:pt x="1015" y="456"/>
                  </a:lnTo>
                  <a:lnTo>
                    <a:pt x="1068" y="395"/>
                  </a:lnTo>
                  <a:lnTo>
                    <a:pt x="1114" y="333"/>
                  </a:lnTo>
                  <a:lnTo>
                    <a:pt x="776" y="352"/>
                  </a:lnTo>
                  <a:lnTo>
                    <a:pt x="623" y="36"/>
                  </a:lnTo>
                  <a:lnTo>
                    <a:pt x="591" y="69"/>
                  </a:lnTo>
                  <a:lnTo>
                    <a:pt x="557" y="98"/>
                  </a:lnTo>
                  <a:lnTo>
                    <a:pt x="516" y="128"/>
                  </a:lnTo>
                  <a:lnTo>
                    <a:pt x="472" y="157"/>
                  </a:lnTo>
                  <a:lnTo>
                    <a:pt x="425" y="178"/>
                  </a:lnTo>
                  <a:lnTo>
                    <a:pt x="379" y="197"/>
                  </a:lnTo>
                  <a:lnTo>
                    <a:pt x="330" y="211"/>
                  </a:lnTo>
                  <a:lnTo>
                    <a:pt x="279" y="220"/>
                  </a:lnTo>
                  <a:lnTo>
                    <a:pt x="279" y="0"/>
                  </a:lnTo>
                  <a:lnTo>
                    <a:pt x="0" y="529"/>
                  </a:ln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blackWhite">
            <a:xfrm>
              <a:off x="3294063" y="4378325"/>
              <a:ext cx="1719262" cy="1531938"/>
            </a:xfrm>
            <a:custGeom>
              <a:avLst/>
              <a:gdLst>
                <a:gd name="T0" fmla="*/ 2147483647 w 1061"/>
                <a:gd name="T1" fmla="*/ 0 h 946"/>
                <a:gd name="T2" fmla="*/ 0 w 1061"/>
                <a:gd name="T3" fmla="*/ 2147483647 h 946"/>
                <a:gd name="T4" fmla="*/ 2147483647 w 1061"/>
                <a:gd name="T5" fmla="*/ 2147483647 h 946"/>
                <a:gd name="T6" fmla="*/ 2147483647 w 1061"/>
                <a:gd name="T7" fmla="*/ 2147483647 h 946"/>
                <a:gd name="T8" fmla="*/ 2147483647 w 1061"/>
                <a:gd name="T9" fmla="*/ 2147483647 h 946"/>
                <a:gd name="T10" fmla="*/ 2147483647 w 1061"/>
                <a:gd name="T11" fmla="*/ 2147483647 h 946"/>
                <a:gd name="T12" fmla="*/ 2147483647 w 1061"/>
                <a:gd name="T13" fmla="*/ 2147483647 h 946"/>
                <a:gd name="T14" fmla="*/ 2147483647 w 1061"/>
                <a:gd name="T15" fmla="*/ 2147483647 h 946"/>
                <a:gd name="T16" fmla="*/ 2147483647 w 1061"/>
                <a:gd name="T17" fmla="*/ 2147483647 h 946"/>
                <a:gd name="T18" fmla="*/ 2147483647 w 1061"/>
                <a:gd name="T19" fmla="*/ 2147483647 h 946"/>
                <a:gd name="T20" fmla="*/ 2147483647 w 1061"/>
                <a:gd name="T21" fmla="*/ 2147483647 h 946"/>
                <a:gd name="T22" fmla="*/ 2147483647 w 1061"/>
                <a:gd name="T23" fmla="*/ 2147483647 h 946"/>
                <a:gd name="T24" fmla="*/ 2147483647 w 1061"/>
                <a:gd name="T25" fmla="*/ 2147483647 h 946"/>
                <a:gd name="T26" fmla="*/ 2147483647 w 1061"/>
                <a:gd name="T27" fmla="*/ 2147483647 h 946"/>
                <a:gd name="T28" fmla="*/ 2147483647 w 1061"/>
                <a:gd name="T29" fmla="*/ 2147483647 h 946"/>
                <a:gd name="T30" fmla="*/ 2147483647 w 1061"/>
                <a:gd name="T31" fmla="*/ 2147483647 h 946"/>
                <a:gd name="T32" fmla="*/ 2147483647 w 1061"/>
                <a:gd name="T33" fmla="*/ 2147483647 h 946"/>
                <a:gd name="T34" fmla="*/ 2147483647 w 1061"/>
                <a:gd name="T35" fmla="*/ 2147483647 h 946"/>
                <a:gd name="T36" fmla="*/ 2147483647 w 1061"/>
                <a:gd name="T37" fmla="*/ 2147483647 h 946"/>
                <a:gd name="T38" fmla="*/ 2147483647 w 1061"/>
                <a:gd name="T39" fmla="*/ 2147483647 h 946"/>
                <a:gd name="T40" fmla="*/ 2147483647 w 1061"/>
                <a:gd name="T41" fmla="*/ 2147483647 h 946"/>
                <a:gd name="T42" fmla="*/ 2147483647 w 1061"/>
                <a:gd name="T43" fmla="*/ 2147483647 h 946"/>
                <a:gd name="T44" fmla="*/ 2147483647 w 1061"/>
                <a:gd name="T45" fmla="*/ 2147483647 h 946"/>
                <a:gd name="T46" fmla="*/ 2147483647 w 1061"/>
                <a:gd name="T47" fmla="*/ 2147483647 h 946"/>
                <a:gd name="T48" fmla="*/ 2147483647 w 1061"/>
                <a:gd name="T49" fmla="*/ 2147483647 h 946"/>
                <a:gd name="T50" fmla="*/ 2147483647 w 1061"/>
                <a:gd name="T51" fmla="*/ 0 h 94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061"/>
                <a:gd name="T79" fmla="*/ 0 h 946"/>
                <a:gd name="T80" fmla="*/ 1061 w 1061"/>
                <a:gd name="T81" fmla="*/ 946 h 94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061" h="946">
                  <a:moveTo>
                    <a:pt x="372" y="0"/>
                  </a:moveTo>
                  <a:lnTo>
                    <a:pt x="0" y="477"/>
                  </a:lnTo>
                  <a:lnTo>
                    <a:pt x="207" y="395"/>
                  </a:lnTo>
                  <a:lnTo>
                    <a:pt x="252" y="466"/>
                  </a:lnTo>
                  <a:lnTo>
                    <a:pt x="302" y="531"/>
                  </a:lnTo>
                  <a:lnTo>
                    <a:pt x="354" y="592"/>
                  </a:lnTo>
                  <a:lnTo>
                    <a:pt x="410" y="649"/>
                  </a:lnTo>
                  <a:lnTo>
                    <a:pt x="471" y="703"/>
                  </a:lnTo>
                  <a:lnTo>
                    <a:pt x="535" y="751"/>
                  </a:lnTo>
                  <a:lnTo>
                    <a:pt x="602" y="795"/>
                  </a:lnTo>
                  <a:lnTo>
                    <a:pt x="670" y="833"/>
                  </a:lnTo>
                  <a:lnTo>
                    <a:pt x="745" y="867"/>
                  </a:lnTo>
                  <a:lnTo>
                    <a:pt x="818" y="894"/>
                  </a:lnTo>
                  <a:lnTo>
                    <a:pt x="894" y="917"/>
                  </a:lnTo>
                  <a:lnTo>
                    <a:pt x="970" y="934"/>
                  </a:lnTo>
                  <a:lnTo>
                    <a:pt x="1048" y="945"/>
                  </a:lnTo>
                  <a:lnTo>
                    <a:pt x="896" y="669"/>
                  </a:lnTo>
                  <a:lnTo>
                    <a:pt x="1060" y="347"/>
                  </a:lnTo>
                  <a:lnTo>
                    <a:pt x="1004" y="334"/>
                  </a:lnTo>
                  <a:lnTo>
                    <a:pt x="951" y="315"/>
                  </a:lnTo>
                  <a:lnTo>
                    <a:pt x="898" y="290"/>
                  </a:lnTo>
                  <a:lnTo>
                    <a:pt x="850" y="260"/>
                  </a:lnTo>
                  <a:lnTo>
                    <a:pt x="802" y="223"/>
                  </a:lnTo>
                  <a:lnTo>
                    <a:pt x="761" y="184"/>
                  </a:lnTo>
                  <a:lnTo>
                    <a:pt x="938" y="113"/>
                  </a:lnTo>
                  <a:lnTo>
                    <a:pt x="372" y="0"/>
                  </a:lnTo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blackWhite">
            <a:xfrm>
              <a:off x="3134390" y="3065463"/>
              <a:ext cx="1531273" cy="1709737"/>
            </a:xfrm>
            <a:custGeom>
              <a:avLst/>
              <a:gdLst>
                <a:gd name="T0" fmla="*/ 2147483647 w 866"/>
                <a:gd name="T1" fmla="*/ 0 h 1055"/>
                <a:gd name="T2" fmla="*/ 0 w 866"/>
                <a:gd name="T3" fmla="*/ 2147483647 h 1055"/>
                <a:gd name="T4" fmla="*/ 2147483647 w 866"/>
                <a:gd name="T5" fmla="*/ 2147483647 h 1055"/>
                <a:gd name="T6" fmla="*/ 2147483647 w 866"/>
                <a:gd name="T7" fmla="*/ 2147483647 h 1055"/>
                <a:gd name="T8" fmla="*/ 2147483647 w 866"/>
                <a:gd name="T9" fmla="*/ 2147483647 h 1055"/>
                <a:gd name="T10" fmla="*/ 2147483647 w 866"/>
                <a:gd name="T11" fmla="*/ 2147483647 h 1055"/>
                <a:gd name="T12" fmla="*/ 2147483647 w 866"/>
                <a:gd name="T13" fmla="*/ 2147483647 h 1055"/>
                <a:gd name="T14" fmla="*/ 2147483647 w 866"/>
                <a:gd name="T15" fmla="*/ 2147483647 h 1055"/>
                <a:gd name="T16" fmla="*/ 2147483647 w 866"/>
                <a:gd name="T17" fmla="*/ 2147483647 h 1055"/>
                <a:gd name="T18" fmla="*/ 2147483647 w 866"/>
                <a:gd name="T19" fmla="*/ 2147483647 h 1055"/>
                <a:gd name="T20" fmla="*/ 2147483647 w 866"/>
                <a:gd name="T21" fmla="*/ 2147483647 h 1055"/>
                <a:gd name="T22" fmla="*/ 2147483647 w 866"/>
                <a:gd name="T23" fmla="*/ 2147483647 h 1055"/>
                <a:gd name="T24" fmla="*/ 2147483647 w 866"/>
                <a:gd name="T25" fmla="*/ 2147483647 h 1055"/>
                <a:gd name="T26" fmla="*/ 2147483647 w 866"/>
                <a:gd name="T27" fmla="*/ 2147483647 h 1055"/>
                <a:gd name="T28" fmla="*/ 2147483647 w 866"/>
                <a:gd name="T29" fmla="*/ 2147483647 h 1055"/>
                <a:gd name="T30" fmla="*/ 2147483647 w 866"/>
                <a:gd name="T31" fmla="*/ 2147483647 h 1055"/>
                <a:gd name="T32" fmla="*/ 2147483647 w 866"/>
                <a:gd name="T33" fmla="*/ 2147483647 h 1055"/>
                <a:gd name="T34" fmla="*/ 2147483647 w 866"/>
                <a:gd name="T35" fmla="*/ 2147483647 h 1055"/>
                <a:gd name="T36" fmla="*/ 2147483647 w 866"/>
                <a:gd name="T37" fmla="*/ 2147483647 h 1055"/>
                <a:gd name="T38" fmla="*/ 2147483647 w 866"/>
                <a:gd name="T39" fmla="*/ 2147483647 h 1055"/>
                <a:gd name="T40" fmla="*/ 2147483647 w 866"/>
                <a:gd name="T41" fmla="*/ 2147483647 h 1055"/>
                <a:gd name="T42" fmla="*/ 2147483647 w 866"/>
                <a:gd name="T43" fmla="*/ 2147483647 h 1055"/>
                <a:gd name="T44" fmla="*/ 2147483647 w 866"/>
                <a:gd name="T45" fmla="*/ 2147483647 h 1055"/>
                <a:gd name="T46" fmla="*/ 2147483647 w 866"/>
                <a:gd name="T47" fmla="*/ 2147483647 h 1055"/>
                <a:gd name="T48" fmla="*/ 2147483647 w 866"/>
                <a:gd name="T49" fmla="*/ 2147483647 h 1055"/>
                <a:gd name="T50" fmla="*/ 2147483647 w 866"/>
                <a:gd name="T51" fmla="*/ 0 h 105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866"/>
                <a:gd name="T79" fmla="*/ 0 h 1055"/>
                <a:gd name="T80" fmla="*/ 866 w 866"/>
                <a:gd name="T81" fmla="*/ 1055 h 1055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866" h="1055">
                  <a:moveTo>
                    <a:pt x="571" y="0"/>
                  </a:moveTo>
                  <a:lnTo>
                    <a:pt x="0" y="1"/>
                  </a:lnTo>
                  <a:lnTo>
                    <a:pt x="178" y="111"/>
                  </a:lnTo>
                  <a:lnTo>
                    <a:pt x="153" y="187"/>
                  </a:lnTo>
                  <a:lnTo>
                    <a:pt x="130" y="264"/>
                  </a:lnTo>
                  <a:lnTo>
                    <a:pt x="113" y="343"/>
                  </a:lnTo>
                  <a:lnTo>
                    <a:pt x="100" y="423"/>
                  </a:lnTo>
                  <a:lnTo>
                    <a:pt x="94" y="504"/>
                  </a:lnTo>
                  <a:lnTo>
                    <a:pt x="93" y="583"/>
                  </a:lnTo>
                  <a:lnTo>
                    <a:pt x="95" y="664"/>
                  </a:lnTo>
                  <a:lnTo>
                    <a:pt x="104" y="744"/>
                  </a:lnTo>
                  <a:lnTo>
                    <a:pt x="118" y="824"/>
                  </a:lnTo>
                  <a:lnTo>
                    <a:pt x="136" y="903"/>
                  </a:lnTo>
                  <a:lnTo>
                    <a:pt x="159" y="979"/>
                  </a:lnTo>
                  <a:lnTo>
                    <a:pt x="189" y="1054"/>
                  </a:lnTo>
                  <a:lnTo>
                    <a:pt x="412" y="766"/>
                  </a:lnTo>
                  <a:lnTo>
                    <a:pt x="702" y="816"/>
                  </a:lnTo>
                  <a:lnTo>
                    <a:pt x="681" y="760"/>
                  </a:lnTo>
                  <a:lnTo>
                    <a:pt x="666" y="705"/>
                  </a:lnTo>
                  <a:lnTo>
                    <a:pt x="658" y="647"/>
                  </a:lnTo>
                  <a:lnTo>
                    <a:pt x="652" y="588"/>
                  </a:lnTo>
                  <a:lnTo>
                    <a:pt x="652" y="529"/>
                  </a:lnTo>
                  <a:lnTo>
                    <a:pt x="660" y="470"/>
                  </a:lnTo>
                  <a:lnTo>
                    <a:pt x="672" y="413"/>
                  </a:lnTo>
                  <a:lnTo>
                    <a:pt x="865" y="531"/>
                  </a:lnTo>
                  <a:lnTo>
                    <a:pt x="571" y="0"/>
                  </a:lnTo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41" name="Rectangle 40"/>
            <p:cNvSpPr>
              <a:spLocks noChangeArrowheads="1"/>
            </p:cNvSpPr>
            <p:nvPr/>
          </p:nvSpPr>
          <p:spPr bwMode="blackWhite">
            <a:xfrm>
              <a:off x="2898547" y="2538471"/>
              <a:ext cx="1413336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. White</a:t>
              </a:r>
              <a:r>
                <a:rPr lang="en-US" sz="1400" baseline="0">
                  <a:solidFill>
                    <a:schemeClr val="bg1"/>
                  </a:solidFill>
                </a:rPr>
                <a:t>. 14PT</a:t>
              </a: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42" name="Rectangle 41"/>
            <p:cNvSpPr>
              <a:spLocks noChangeArrowheads="1"/>
            </p:cNvSpPr>
            <p:nvPr/>
          </p:nvSpPr>
          <p:spPr bwMode="blackWhite">
            <a:xfrm>
              <a:off x="5890738" y="2805171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3" name="Rectangle 42"/>
            <p:cNvSpPr>
              <a:spLocks noChangeArrowheads="1"/>
            </p:cNvSpPr>
            <p:nvPr/>
          </p:nvSpPr>
          <p:spPr bwMode="blackWhite">
            <a:xfrm>
              <a:off x="6370162" y="4146609"/>
              <a:ext cx="327975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4" name="Rectangle 43"/>
            <p:cNvSpPr>
              <a:spLocks noChangeArrowheads="1"/>
            </p:cNvSpPr>
            <p:nvPr/>
          </p:nvSpPr>
          <p:spPr bwMode="blackWhite">
            <a:xfrm>
              <a:off x="5501800" y="5259446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5" name="Rectangle 44"/>
            <p:cNvSpPr>
              <a:spLocks noChangeArrowheads="1"/>
            </p:cNvSpPr>
            <p:nvPr/>
          </p:nvSpPr>
          <p:spPr bwMode="blackWhite">
            <a:xfrm>
              <a:off x="4166713" y="4962584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6" name="Rectangle 45"/>
            <p:cNvSpPr>
              <a:spLocks noChangeArrowheads="1"/>
            </p:cNvSpPr>
            <p:nvPr/>
          </p:nvSpPr>
          <p:spPr bwMode="blackWhite">
            <a:xfrm>
              <a:off x="3627624" y="3692584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</p:grpSp>
      <p:sp>
        <p:nvSpPr>
          <p:cNvPr id="47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48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5116786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Slide designed to be used when you only have a small intro paragraph and bullet points. 18PT</a:t>
            </a:r>
          </a:p>
        </p:txBody>
      </p:sp>
      <p:sp>
        <p:nvSpPr>
          <p:cNvPr id="55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5116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903217181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. Strategy Slide - Process Closed Loop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9693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7061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PROCESS CLOSED LOOP WITH LARGE TEXT</a:t>
            </a:r>
          </a:p>
        </p:txBody>
      </p:sp>
      <p:sp>
        <p:nvSpPr>
          <p:cNvPr id="47" name="Arc 3"/>
          <p:cNvSpPr>
            <a:spLocks/>
          </p:cNvSpPr>
          <p:nvPr userDrawn="1"/>
        </p:nvSpPr>
        <p:spPr bwMode="auto">
          <a:xfrm>
            <a:off x="8555775" y="1924512"/>
            <a:ext cx="2043112" cy="1801812"/>
          </a:xfrm>
          <a:custGeom>
            <a:avLst/>
            <a:gdLst>
              <a:gd name="T0" fmla="*/ 0 w 19173"/>
              <a:gd name="T1" fmla="*/ 0 h 21600"/>
              <a:gd name="T2" fmla="*/ 2147483647 w 19173"/>
              <a:gd name="T3" fmla="*/ 2147483647 h 21600"/>
              <a:gd name="T4" fmla="*/ 0 w 19173"/>
              <a:gd name="T5" fmla="*/ 2147483647 h 21600"/>
              <a:gd name="T6" fmla="*/ 0 60000 65536"/>
              <a:gd name="T7" fmla="*/ 0 60000 65536"/>
              <a:gd name="T8" fmla="*/ 0 60000 65536"/>
              <a:gd name="T9" fmla="*/ 0 w 19173"/>
              <a:gd name="T10" fmla="*/ 0 h 21600"/>
              <a:gd name="T11" fmla="*/ 19173 w 19173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173" h="21600" fill="none" extrusionOk="0">
                <a:moveTo>
                  <a:pt x="-1" y="0"/>
                </a:moveTo>
                <a:cubicBezTo>
                  <a:pt x="8064" y="0"/>
                  <a:pt x="15457" y="4492"/>
                  <a:pt x="19172" y="11651"/>
                </a:cubicBezTo>
              </a:path>
              <a:path w="19173" h="21600" stroke="0" extrusionOk="0">
                <a:moveTo>
                  <a:pt x="-1" y="0"/>
                </a:moveTo>
                <a:cubicBezTo>
                  <a:pt x="8064" y="0"/>
                  <a:pt x="15457" y="4492"/>
                  <a:pt x="19172" y="11651"/>
                </a:cubicBezTo>
                <a:lnTo>
                  <a:pt x="0" y="21600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48" name="Arc 4"/>
          <p:cNvSpPr>
            <a:spLocks/>
          </p:cNvSpPr>
          <p:nvPr userDrawn="1"/>
        </p:nvSpPr>
        <p:spPr bwMode="auto">
          <a:xfrm flipV="1">
            <a:off x="8555775" y="3803958"/>
            <a:ext cx="2301875" cy="969963"/>
          </a:xfrm>
          <a:custGeom>
            <a:avLst/>
            <a:gdLst>
              <a:gd name="T0" fmla="*/ 2147483647 w 21600"/>
              <a:gd name="T1" fmla="*/ 0 h 11619"/>
              <a:gd name="T2" fmla="*/ 2147483647 w 21600"/>
              <a:gd name="T3" fmla="*/ 2147483647 h 11619"/>
              <a:gd name="T4" fmla="*/ 0 w 21600"/>
              <a:gd name="T5" fmla="*/ 2147483647 h 11619"/>
              <a:gd name="T6" fmla="*/ 0 60000 65536"/>
              <a:gd name="T7" fmla="*/ 0 60000 65536"/>
              <a:gd name="T8" fmla="*/ 0 60000 65536"/>
              <a:gd name="T9" fmla="*/ 0 w 21600"/>
              <a:gd name="T10" fmla="*/ 0 h 11619"/>
              <a:gd name="T11" fmla="*/ 21600 w 21600"/>
              <a:gd name="T12" fmla="*/ 11619 h 1161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11619" fill="none" extrusionOk="0">
                <a:moveTo>
                  <a:pt x="18208" y="0"/>
                </a:moveTo>
                <a:cubicBezTo>
                  <a:pt x="20423" y="3470"/>
                  <a:pt x="21600" y="7501"/>
                  <a:pt x="21600" y="11619"/>
                </a:cubicBezTo>
              </a:path>
              <a:path w="21600" h="11619" stroke="0" extrusionOk="0">
                <a:moveTo>
                  <a:pt x="18208" y="0"/>
                </a:moveTo>
                <a:cubicBezTo>
                  <a:pt x="20423" y="3470"/>
                  <a:pt x="21600" y="7501"/>
                  <a:pt x="21600" y="11619"/>
                </a:cubicBezTo>
                <a:lnTo>
                  <a:pt x="0" y="11619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rot="10800000"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49" name="Arc 5"/>
          <p:cNvSpPr>
            <a:spLocks/>
          </p:cNvSpPr>
          <p:nvPr userDrawn="1"/>
        </p:nvSpPr>
        <p:spPr bwMode="auto">
          <a:xfrm rot="183362" flipV="1">
            <a:off x="8248650" y="3884613"/>
            <a:ext cx="1851025" cy="1801813"/>
          </a:xfrm>
          <a:custGeom>
            <a:avLst/>
            <a:gdLst>
              <a:gd name="T0" fmla="*/ 0 w 17368"/>
              <a:gd name="T1" fmla="*/ 2147483647 h 21600"/>
              <a:gd name="T2" fmla="*/ 2147483647 w 17368"/>
              <a:gd name="T3" fmla="*/ 2147483647 h 21600"/>
              <a:gd name="T4" fmla="*/ 2147483647 w 17368"/>
              <a:gd name="T5" fmla="*/ 2147483647 h 21600"/>
              <a:gd name="T6" fmla="*/ 0 60000 65536"/>
              <a:gd name="T7" fmla="*/ 0 60000 65536"/>
              <a:gd name="T8" fmla="*/ 0 60000 65536"/>
              <a:gd name="T9" fmla="*/ 0 w 17368"/>
              <a:gd name="T10" fmla="*/ 0 h 21600"/>
              <a:gd name="T11" fmla="*/ 17368 w 17368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7368" h="21600" fill="none" extrusionOk="0">
                <a:moveTo>
                  <a:pt x="0" y="189"/>
                </a:moveTo>
                <a:cubicBezTo>
                  <a:pt x="945" y="63"/>
                  <a:pt x="1898" y="-1"/>
                  <a:pt x="2852" y="0"/>
                </a:cubicBezTo>
                <a:cubicBezTo>
                  <a:pt x="8218" y="0"/>
                  <a:pt x="13393" y="1998"/>
                  <a:pt x="17368" y="5604"/>
                </a:cubicBezTo>
              </a:path>
              <a:path w="17368" h="21600" stroke="0" extrusionOk="0">
                <a:moveTo>
                  <a:pt x="0" y="189"/>
                </a:moveTo>
                <a:cubicBezTo>
                  <a:pt x="945" y="63"/>
                  <a:pt x="1898" y="-1"/>
                  <a:pt x="2852" y="0"/>
                </a:cubicBezTo>
                <a:cubicBezTo>
                  <a:pt x="8218" y="0"/>
                  <a:pt x="13393" y="1998"/>
                  <a:pt x="17368" y="5604"/>
                </a:cubicBezTo>
                <a:lnTo>
                  <a:pt x="2852" y="21600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rot="10800000"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54" name="Arc 6"/>
          <p:cNvSpPr>
            <a:spLocks/>
          </p:cNvSpPr>
          <p:nvPr userDrawn="1"/>
        </p:nvSpPr>
        <p:spPr bwMode="auto">
          <a:xfrm flipH="1" flipV="1">
            <a:off x="6312637" y="3726324"/>
            <a:ext cx="2244725" cy="1592263"/>
          </a:xfrm>
          <a:custGeom>
            <a:avLst/>
            <a:gdLst>
              <a:gd name="T0" fmla="*/ 2147483647 w 21027"/>
              <a:gd name="T1" fmla="*/ 0 h 19082"/>
              <a:gd name="T2" fmla="*/ 2147483647 w 21027"/>
              <a:gd name="T3" fmla="*/ 2147483647 h 19082"/>
              <a:gd name="T4" fmla="*/ 0 w 21027"/>
              <a:gd name="T5" fmla="*/ 2147483647 h 19082"/>
              <a:gd name="T6" fmla="*/ 0 60000 65536"/>
              <a:gd name="T7" fmla="*/ 0 60000 65536"/>
              <a:gd name="T8" fmla="*/ 0 60000 65536"/>
              <a:gd name="T9" fmla="*/ 0 w 21027"/>
              <a:gd name="T10" fmla="*/ 0 h 19082"/>
              <a:gd name="T11" fmla="*/ 21027 w 21027"/>
              <a:gd name="T12" fmla="*/ 19082 h 1908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027" h="19082" fill="none" extrusionOk="0">
                <a:moveTo>
                  <a:pt x="10121" y="0"/>
                </a:moveTo>
                <a:cubicBezTo>
                  <a:pt x="15625" y="2919"/>
                  <a:pt x="19601" y="8073"/>
                  <a:pt x="21026" y="14139"/>
                </a:cubicBezTo>
              </a:path>
              <a:path w="21027" h="19082" stroke="0" extrusionOk="0">
                <a:moveTo>
                  <a:pt x="10121" y="0"/>
                </a:moveTo>
                <a:cubicBezTo>
                  <a:pt x="15625" y="2919"/>
                  <a:pt x="19601" y="8073"/>
                  <a:pt x="21026" y="14139"/>
                </a:cubicBezTo>
                <a:lnTo>
                  <a:pt x="0" y="19082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 rot="10800000"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55" name="Arc 7"/>
          <p:cNvSpPr>
            <a:spLocks/>
          </p:cNvSpPr>
          <p:nvPr userDrawn="1"/>
        </p:nvSpPr>
        <p:spPr bwMode="auto">
          <a:xfrm flipH="1">
            <a:off x="6279300" y="2067387"/>
            <a:ext cx="2278062" cy="1658937"/>
          </a:xfrm>
          <a:custGeom>
            <a:avLst/>
            <a:gdLst>
              <a:gd name="T0" fmla="*/ 2147483647 w 21347"/>
              <a:gd name="T1" fmla="*/ 0 h 19905"/>
              <a:gd name="T2" fmla="*/ 2147483647 w 21347"/>
              <a:gd name="T3" fmla="*/ 2147483647 h 19905"/>
              <a:gd name="T4" fmla="*/ 0 w 21347"/>
              <a:gd name="T5" fmla="*/ 2147483647 h 19905"/>
              <a:gd name="T6" fmla="*/ 0 60000 65536"/>
              <a:gd name="T7" fmla="*/ 0 60000 65536"/>
              <a:gd name="T8" fmla="*/ 0 60000 65536"/>
              <a:gd name="T9" fmla="*/ 0 w 21347"/>
              <a:gd name="T10" fmla="*/ 0 h 19905"/>
              <a:gd name="T11" fmla="*/ 21347 w 21347"/>
              <a:gd name="T12" fmla="*/ 19905 h 1990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347" h="19905" fill="none" extrusionOk="0">
                <a:moveTo>
                  <a:pt x="8386" y="-1"/>
                </a:moveTo>
                <a:cubicBezTo>
                  <a:pt x="15295" y="2910"/>
                  <a:pt x="20201" y="9196"/>
                  <a:pt x="21346" y="16606"/>
                </a:cubicBezTo>
              </a:path>
              <a:path w="21347" h="19905" stroke="0" extrusionOk="0">
                <a:moveTo>
                  <a:pt x="8386" y="-1"/>
                </a:moveTo>
                <a:cubicBezTo>
                  <a:pt x="15295" y="2910"/>
                  <a:pt x="20201" y="9196"/>
                  <a:pt x="21346" y="16606"/>
                </a:cubicBezTo>
                <a:lnTo>
                  <a:pt x="0" y="19905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75" name="Oval 8"/>
          <p:cNvSpPr>
            <a:spLocks noChangeArrowheads="1"/>
          </p:cNvSpPr>
          <p:nvPr userDrawn="1"/>
        </p:nvSpPr>
        <p:spPr bwMode="auto">
          <a:xfrm>
            <a:off x="9048888" y="4635962"/>
            <a:ext cx="1743075" cy="1238250"/>
          </a:xfrm>
          <a:prstGeom prst="ellipse">
            <a:avLst/>
          </a:prstGeom>
          <a:solidFill>
            <a:schemeClr val="accent3"/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6" name="Oval 9"/>
          <p:cNvSpPr>
            <a:spLocks noChangeArrowheads="1"/>
          </p:cNvSpPr>
          <p:nvPr userDrawn="1"/>
        </p:nvSpPr>
        <p:spPr bwMode="auto">
          <a:xfrm>
            <a:off x="5612550" y="2894474"/>
            <a:ext cx="1738312" cy="1235075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7" name="Oval 10"/>
          <p:cNvSpPr>
            <a:spLocks noChangeArrowheads="1"/>
          </p:cNvSpPr>
          <p:nvPr userDrawn="1"/>
        </p:nvSpPr>
        <p:spPr bwMode="auto">
          <a:xfrm>
            <a:off x="6571400" y="4635962"/>
            <a:ext cx="1738312" cy="123825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8" name="Oval 11"/>
          <p:cNvSpPr>
            <a:spLocks noChangeArrowheads="1"/>
          </p:cNvSpPr>
          <p:nvPr userDrawn="1"/>
        </p:nvSpPr>
        <p:spPr bwMode="auto">
          <a:xfrm>
            <a:off x="9835300" y="2894474"/>
            <a:ext cx="1744662" cy="1235075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9" name="Oval 12"/>
          <p:cNvSpPr>
            <a:spLocks noChangeArrowheads="1"/>
          </p:cNvSpPr>
          <p:nvPr userDrawn="1"/>
        </p:nvSpPr>
        <p:spPr bwMode="auto">
          <a:xfrm>
            <a:off x="7684237" y="1438737"/>
            <a:ext cx="1739900" cy="11890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80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81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2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85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4727325" cy="39059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s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13949319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. Strategy Slide - Direct Reports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4245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0248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DIRECT REPORTS ORG CHART.</a:t>
            </a:r>
          </a:p>
        </p:txBody>
      </p:sp>
      <p:sp>
        <p:nvSpPr>
          <p:cNvPr id="125" name="Rectangle 124"/>
          <p:cNvSpPr/>
          <p:nvPr/>
        </p:nvSpPr>
        <p:spPr>
          <a:xfrm>
            <a:off x="5428481" y="1565718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cxnSp>
        <p:nvCxnSpPr>
          <p:cNvPr id="81" name="Straight Connector 80"/>
          <p:cNvCxnSpPr/>
          <p:nvPr/>
        </p:nvCxnSpPr>
        <p:spPr>
          <a:xfrm>
            <a:off x="1088796" y="3433191"/>
            <a:ext cx="8490978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/>
        </p:nvCxnSpPr>
        <p:spPr>
          <a:xfrm>
            <a:off x="9579775" y="3433191"/>
            <a:ext cx="1481343" cy="0"/>
          </a:xfrm>
          <a:prstGeom prst="line">
            <a:avLst/>
          </a:prstGeom>
          <a:ln w="6350">
            <a:solidFill>
              <a:schemeClr val="tx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/>
          <p:cNvCxnSpPr/>
          <p:nvPr/>
        </p:nvCxnSpPr>
        <p:spPr>
          <a:xfrm>
            <a:off x="9582047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/>
          <p:cNvCxnSpPr/>
          <p:nvPr/>
        </p:nvCxnSpPr>
        <p:spPr>
          <a:xfrm>
            <a:off x="11061118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/>
          <p:cNvCxnSpPr/>
          <p:nvPr/>
        </p:nvCxnSpPr>
        <p:spPr>
          <a:xfrm>
            <a:off x="5302440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/>
        </p:nvCxnSpPr>
        <p:spPr>
          <a:xfrm>
            <a:off x="3925703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/>
        </p:nvCxnSpPr>
        <p:spPr>
          <a:xfrm>
            <a:off x="2513310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/>
        </p:nvCxnSpPr>
        <p:spPr>
          <a:xfrm>
            <a:off x="1088796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142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43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5519781" y="1674479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519781" y="2691366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44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19781" y="2856097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cxnSp>
        <p:nvCxnSpPr>
          <p:cNvPr id="145" name="Straight Connector 144"/>
          <p:cNvCxnSpPr/>
          <p:nvPr/>
        </p:nvCxnSpPr>
        <p:spPr>
          <a:xfrm>
            <a:off x="6057406" y="3086187"/>
            <a:ext cx="0" cy="343134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/>
          <p:cNvCxnSpPr/>
          <p:nvPr/>
        </p:nvCxnSpPr>
        <p:spPr>
          <a:xfrm>
            <a:off x="6760791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/>
          <p:cNvCxnSpPr/>
          <p:nvPr/>
        </p:nvCxnSpPr>
        <p:spPr>
          <a:xfrm>
            <a:off x="8153492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tangle 150"/>
          <p:cNvSpPr/>
          <p:nvPr userDrawn="1"/>
        </p:nvSpPr>
        <p:spPr>
          <a:xfrm>
            <a:off x="432838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52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524138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53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24138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54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24138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55" name="Rectangle 154"/>
          <p:cNvSpPr/>
          <p:nvPr userDrawn="1"/>
        </p:nvSpPr>
        <p:spPr>
          <a:xfrm>
            <a:off x="1859057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56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1950357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57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1950357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5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1950357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59" name="Rectangle 158"/>
          <p:cNvSpPr/>
          <p:nvPr userDrawn="1"/>
        </p:nvSpPr>
        <p:spPr>
          <a:xfrm>
            <a:off x="3272950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60" name="Picture Placeholder 4"/>
          <p:cNvSpPr>
            <a:spLocks noGrp="1"/>
          </p:cNvSpPr>
          <p:nvPr>
            <p:ph type="pic" sz="quarter" idx="19" hasCustomPrompt="1"/>
          </p:nvPr>
        </p:nvSpPr>
        <p:spPr>
          <a:xfrm>
            <a:off x="3364250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1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3364250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364250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63" name="Rectangle 162"/>
          <p:cNvSpPr/>
          <p:nvPr userDrawn="1"/>
        </p:nvSpPr>
        <p:spPr>
          <a:xfrm>
            <a:off x="4646564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64" name="Picture Placeholder 4"/>
          <p:cNvSpPr>
            <a:spLocks noGrp="1"/>
          </p:cNvSpPr>
          <p:nvPr>
            <p:ph type="pic" sz="quarter" idx="22" hasCustomPrompt="1"/>
          </p:nvPr>
        </p:nvSpPr>
        <p:spPr>
          <a:xfrm>
            <a:off x="4737864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737864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4737864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67" name="Rectangle 166"/>
          <p:cNvSpPr/>
          <p:nvPr userDrawn="1"/>
        </p:nvSpPr>
        <p:spPr>
          <a:xfrm>
            <a:off x="6100746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68" name="Picture Placeholder 4"/>
          <p:cNvSpPr>
            <a:spLocks noGrp="1"/>
          </p:cNvSpPr>
          <p:nvPr>
            <p:ph type="pic" sz="quarter" idx="25" hasCustomPrompt="1"/>
          </p:nvPr>
        </p:nvSpPr>
        <p:spPr>
          <a:xfrm>
            <a:off x="6192046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9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6192046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0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6192046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1" name="Rectangle 170"/>
          <p:cNvSpPr/>
          <p:nvPr userDrawn="1"/>
        </p:nvSpPr>
        <p:spPr>
          <a:xfrm>
            <a:off x="7498529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28" hasCustomPrompt="1"/>
          </p:nvPr>
        </p:nvSpPr>
        <p:spPr>
          <a:xfrm>
            <a:off x="7589829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73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7589829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4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7589829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5" name="Rectangle 174"/>
          <p:cNvSpPr/>
          <p:nvPr userDrawn="1"/>
        </p:nvSpPr>
        <p:spPr>
          <a:xfrm>
            <a:off x="8927502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76" name="Picture Placeholder 4"/>
          <p:cNvSpPr>
            <a:spLocks noGrp="1"/>
          </p:cNvSpPr>
          <p:nvPr>
            <p:ph type="pic" sz="quarter" idx="31" hasCustomPrompt="1"/>
          </p:nvPr>
        </p:nvSpPr>
        <p:spPr>
          <a:xfrm>
            <a:off x="9018802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77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9018802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8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9018802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9" name="Rectangle 178"/>
          <p:cNvSpPr/>
          <p:nvPr userDrawn="1"/>
        </p:nvSpPr>
        <p:spPr>
          <a:xfrm>
            <a:off x="10405847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80" name="Picture Placeholder 4"/>
          <p:cNvSpPr>
            <a:spLocks noGrp="1"/>
          </p:cNvSpPr>
          <p:nvPr>
            <p:ph type="pic" sz="quarter" idx="34" hasCustomPrompt="1"/>
          </p:nvPr>
        </p:nvSpPr>
        <p:spPr>
          <a:xfrm>
            <a:off x="10497147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81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10497147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82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10497147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5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74552117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. Strategy Slide - Company/Function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74070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6047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MPANY / FUNCTION ORG CHART.</a:t>
            </a:r>
          </a:p>
        </p:txBody>
      </p:sp>
      <p:cxnSp>
        <p:nvCxnSpPr>
          <p:cNvPr id="143" name="Straight Connector 142"/>
          <p:cNvCxnSpPr>
            <a:stCxn id="210" idx="2"/>
          </p:cNvCxnSpPr>
          <p:nvPr userDrawn="1"/>
        </p:nvCxnSpPr>
        <p:spPr>
          <a:xfrm>
            <a:off x="5367448" y="2111551"/>
            <a:ext cx="0" cy="568149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/>
          <p:cNvCxnSpPr/>
          <p:nvPr userDrawn="1"/>
        </p:nvCxnSpPr>
        <p:spPr>
          <a:xfrm flipH="1">
            <a:off x="2979125" y="2530165"/>
            <a:ext cx="485527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ounded Rectangle 144"/>
          <p:cNvSpPr/>
          <p:nvPr userDrawn="1"/>
        </p:nvSpPr>
        <p:spPr>
          <a:xfrm>
            <a:off x="2112960" y="27076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46" name="Straight Connector 145"/>
          <p:cNvCxnSpPr/>
          <p:nvPr userDrawn="1"/>
        </p:nvCxnSpPr>
        <p:spPr>
          <a:xfrm>
            <a:off x="2977056" y="2530165"/>
            <a:ext cx="0" cy="149535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ounded Rectangle 146"/>
          <p:cNvSpPr/>
          <p:nvPr userDrawn="1"/>
        </p:nvSpPr>
        <p:spPr>
          <a:xfrm>
            <a:off x="1534225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48" name="Rounded Rectangle 147"/>
          <p:cNvSpPr/>
          <p:nvPr userDrawn="1"/>
        </p:nvSpPr>
        <p:spPr>
          <a:xfrm>
            <a:off x="1534225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49" name="Rounded Rectangle 148"/>
          <p:cNvSpPr/>
          <p:nvPr userDrawn="1"/>
        </p:nvSpPr>
        <p:spPr>
          <a:xfrm>
            <a:off x="1534225" y="47400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50" name="Rounded Rectangle 149"/>
          <p:cNvSpPr/>
          <p:nvPr userDrawn="1"/>
        </p:nvSpPr>
        <p:spPr>
          <a:xfrm>
            <a:off x="1534225" y="5376518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51" name="Straight Connector 150"/>
          <p:cNvCxnSpPr/>
          <p:nvPr userDrawn="1"/>
        </p:nvCxnSpPr>
        <p:spPr>
          <a:xfrm>
            <a:off x="3518616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/>
          <p:cNvCxnSpPr/>
          <p:nvPr userDrawn="1"/>
        </p:nvCxnSpPr>
        <p:spPr>
          <a:xfrm flipH="1">
            <a:off x="3331590" y="435037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/>
          <p:nvPr userDrawn="1"/>
        </p:nvCxnSpPr>
        <p:spPr>
          <a:xfrm>
            <a:off x="3697136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/>
          <p:nvPr userDrawn="1"/>
        </p:nvCxnSpPr>
        <p:spPr>
          <a:xfrm rot="-5400000">
            <a:off x="3796653" y="5536653"/>
            <a:ext cx="0" cy="201706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ounded Rectangle 157"/>
          <p:cNvSpPr/>
          <p:nvPr userDrawn="1"/>
        </p:nvSpPr>
        <p:spPr>
          <a:xfrm>
            <a:off x="4486666" y="27076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59" name="Rounded Rectangle 158"/>
          <p:cNvSpPr/>
          <p:nvPr userDrawn="1"/>
        </p:nvSpPr>
        <p:spPr>
          <a:xfrm>
            <a:off x="3944993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60" name="Rounded Rectangle 159"/>
          <p:cNvSpPr/>
          <p:nvPr userDrawn="1"/>
        </p:nvSpPr>
        <p:spPr>
          <a:xfrm>
            <a:off x="3944993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61" name="Rounded Rectangle 160"/>
          <p:cNvSpPr/>
          <p:nvPr userDrawn="1"/>
        </p:nvSpPr>
        <p:spPr>
          <a:xfrm>
            <a:off x="3944993" y="47400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62" name="Rounded Rectangle 161"/>
          <p:cNvSpPr/>
          <p:nvPr userDrawn="1"/>
        </p:nvSpPr>
        <p:spPr>
          <a:xfrm>
            <a:off x="3944993" y="5376518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63" name="Straight Connector 162"/>
          <p:cNvCxnSpPr/>
          <p:nvPr userDrawn="1"/>
        </p:nvCxnSpPr>
        <p:spPr>
          <a:xfrm>
            <a:off x="5929384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/>
          <p:cNvCxnSpPr/>
          <p:nvPr userDrawn="1"/>
        </p:nvCxnSpPr>
        <p:spPr>
          <a:xfrm flipH="1">
            <a:off x="5750905" y="3705221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Rounded Rectangle 173"/>
          <p:cNvSpPr/>
          <p:nvPr userDrawn="1"/>
        </p:nvSpPr>
        <p:spPr>
          <a:xfrm>
            <a:off x="6849249" y="2723664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75" name="Rounded Rectangle 174"/>
          <p:cNvSpPr/>
          <p:nvPr userDrawn="1"/>
        </p:nvSpPr>
        <p:spPr>
          <a:xfrm>
            <a:off x="6307576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76" name="Rounded Rectangle 175"/>
          <p:cNvSpPr/>
          <p:nvPr userDrawn="1"/>
        </p:nvSpPr>
        <p:spPr>
          <a:xfrm>
            <a:off x="6307576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77" name="Straight Connector 176"/>
          <p:cNvCxnSpPr/>
          <p:nvPr userDrawn="1"/>
        </p:nvCxnSpPr>
        <p:spPr>
          <a:xfrm>
            <a:off x="8291967" y="3281832"/>
            <a:ext cx="0" cy="1068546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0" name="Rounded Rectangle 179"/>
          <p:cNvSpPr/>
          <p:nvPr userDrawn="1"/>
        </p:nvSpPr>
        <p:spPr>
          <a:xfrm>
            <a:off x="9018041" y="3445559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81" name="Rounded Rectangle 180"/>
          <p:cNvSpPr/>
          <p:nvPr userDrawn="1"/>
        </p:nvSpPr>
        <p:spPr>
          <a:xfrm>
            <a:off x="8476368" y="417734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82" name="Rounded Rectangle 181"/>
          <p:cNvSpPr/>
          <p:nvPr userDrawn="1"/>
        </p:nvSpPr>
        <p:spPr>
          <a:xfrm>
            <a:off x="8476368" y="4830540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83" name="Rounded Rectangle 182"/>
          <p:cNvSpPr/>
          <p:nvPr userDrawn="1"/>
        </p:nvSpPr>
        <p:spPr>
          <a:xfrm>
            <a:off x="8476368" y="546191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85" name="Straight Connector 184"/>
          <p:cNvCxnSpPr/>
          <p:nvPr userDrawn="1"/>
        </p:nvCxnSpPr>
        <p:spPr>
          <a:xfrm>
            <a:off x="10460759" y="4003727"/>
            <a:ext cx="0" cy="171585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/>
          <p:cNvCxnSpPr/>
          <p:nvPr userDrawn="1"/>
        </p:nvCxnSpPr>
        <p:spPr>
          <a:xfrm flipH="1">
            <a:off x="10291072" y="4427116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Straight Connector 198"/>
          <p:cNvCxnSpPr/>
          <p:nvPr userDrawn="1"/>
        </p:nvCxnSpPr>
        <p:spPr>
          <a:xfrm>
            <a:off x="7834402" y="2530165"/>
            <a:ext cx="0" cy="177457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Connector 199"/>
          <p:cNvCxnSpPr/>
          <p:nvPr userDrawn="1"/>
        </p:nvCxnSpPr>
        <p:spPr>
          <a:xfrm flipH="1">
            <a:off x="6322236" y="1853247"/>
            <a:ext cx="3545494" cy="0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Connector 200"/>
          <p:cNvCxnSpPr/>
          <p:nvPr userDrawn="1"/>
        </p:nvCxnSpPr>
        <p:spPr>
          <a:xfrm flipV="1">
            <a:off x="9867730" y="1852539"/>
            <a:ext cx="0" cy="1560250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/>
          <p:cNvCxnSpPr/>
          <p:nvPr userDrawn="1"/>
        </p:nvCxnSpPr>
        <p:spPr>
          <a:xfrm flipH="1">
            <a:off x="8104941" y="3725455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Rounded Rectangle 209"/>
          <p:cNvSpPr/>
          <p:nvPr userDrawn="1"/>
        </p:nvSpPr>
        <p:spPr>
          <a:xfrm>
            <a:off x="4486666" y="160589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20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610101" y="1738623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0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610101" y="1903354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04650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2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604650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3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976375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4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6976375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5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2239275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6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2239275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17" name="Straight Connector 216"/>
          <p:cNvCxnSpPr/>
          <p:nvPr userDrawn="1"/>
        </p:nvCxnSpPr>
        <p:spPr>
          <a:xfrm flipH="1">
            <a:off x="8104941" y="4350930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166142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9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166142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20" name="Straight Connector 219"/>
          <p:cNvCxnSpPr/>
          <p:nvPr userDrawn="1"/>
        </p:nvCxnSpPr>
        <p:spPr>
          <a:xfrm flipH="1">
            <a:off x="3331590" y="373442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/>
          <p:cNvCxnSpPr/>
          <p:nvPr userDrawn="1"/>
        </p:nvCxnSpPr>
        <p:spPr>
          <a:xfrm flipH="1">
            <a:off x="3331590" y="5007603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/>
          <p:cNvCxnSpPr/>
          <p:nvPr userDrawn="1"/>
        </p:nvCxnSpPr>
        <p:spPr>
          <a:xfrm flipH="1">
            <a:off x="3331590" y="563307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1661425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4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1661425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2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1661425" y="486992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1661425" y="503465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27" name="Text Placeholder 7"/>
          <p:cNvSpPr>
            <a:spLocks noGrp="1"/>
          </p:cNvSpPr>
          <p:nvPr>
            <p:ph type="body" sz="quarter" idx="25" hasCustomPrompt="1"/>
          </p:nvPr>
        </p:nvSpPr>
        <p:spPr>
          <a:xfrm>
            <a:off x="1661425" y="5508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8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1661425" y="5672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0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4063966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1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063966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2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4063966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3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4063966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4" name="Text Placeholder 7"/>
          <p:cNvSpPr>
            <a:spLocks noGrp="1"/>
          </p:cNvSpPr>
          <p:nvPr>
            <p:ph type="body" sz="quarter" idx="31" hasCustomPrompt="1"/>
          </p:nvPr>
        </p:nvSpPr>
        <p:spPr>
          <a:xfrm>
            <a:off x="4063966" y="486992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5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4063966" y="503465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6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4063966" y="5508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7" name="Text Placehold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063966" y="5672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5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8600107" y="4312984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46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8600107" y="4477715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7" name="Text Placeholder 7"/>
          <p:cNvSpPr>
            <a:spLocks noGrp="1"/>
          </p:cNvSpPr>
          <p:nvPr>
            <p:ph type="body" sz="quarter" idx="37" hasCustomPrompt="1"/>
          </p:nvPr>
        </p:nvSpPr>
        <p:spPr>
          <a:xfrm>
            <a:off x="8600107" y="4941634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48" name="Text Placeholder 7"/>
          <p:cNvSpPr>
            <a:spLocks noGrp="1"/>
          </p:cNvSpPr>
          <p:nvPr>
            <p:ph type="body" sz="quarter" idx="38" hasCustomPrompt="1"/>
          </p:nvPr>
        </p:nvSpPr>
        <p:spPr>
          <a:xfrm>
            <a:off x="8600107" y="5106365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9" name="Text Placeholder 7"/>
          <p:cNvSpPr>
            <a:spLocks noGrp="1"/>
          </p:cNvSpPr>
          <p:nvPr>
            <p:ph type="body" sz="quarter" idx="39" hasCustomPrompt="1"/>
          </p:nvPr>
        </p:nvSpPr>
        <p:spPr>
          <a:xfrm>
            <a:off x="8600107" y="5579809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0" name="Text Placeholder 7"/>
          <p:cNvSpPr>
            <a:spLocks noGrp="1"/>
          </p:cNvSpPr>
          <p:nvPr>
            <p:ph type="body" sz="quarter" idx="40" hasCustomPrompt="1"/>
          </p:nvPr>
        </p:nvSpPr>
        <p:spPr>
          <a:xfrm>
            <a:off x="8600107" y="5744540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1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643662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2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643662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3" name="Text Placeholder 7"/>
          <p:cNvSpPr>
            <a:spLocks noGrp="1"/>
          </p:cNvSpPr>
          <p:nvPr>
            <p:ph type="body" sz="quarter" idx="43" hasCustomPrompt="1"/>
          </p:nvPr>
        </p:nvSpPr>
        <p:spPr>
          <a:xfrm>
            <a:off x="6436625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4" name="Text Placeholder 7"/>
          <p:cNvSpPr>
            <a:spLocks noGrp="1"/>
          </p:cNvSpPr>
          <p:nvPr>
            <p:ph type="body" sz="quarter" idx="44" hasCustomPrompt="1"/>
          </p:nvPr>
        </p:nvSpPr>
        <p:spPr>
          <a:xfrm>
            <a:off x="6436625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5" name="Text Placeholder 7"/>
          <p:cNvSpPr>
            <a:spLocks noGrp="1"/>
          </p:cNvSpPr>
          <p:nvPr>
            <p:ph type="body" sz="quarter" idx="45" hasCustomPrompt="1"/>
          </p:nvPr>
        </p:nvSpPr>
        <p:spPr>
          <a:xfrm>
            <a:off x="916189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6" name="Text Placeholder 7"/>
          <p:cNvSpPr>
            <a:spLocks noGrp="1"/>
          </p:cNvSpPr>
          <p:nvPr>
            <p:ph type="body" sz="quarter" idx="46" hasCustomPrompt="1"/>
          </p:nvPr>
        </p:nvSpPr>
        <p:spPr>
          <a:xfrm>
            <a:off x="916189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57" name="Straight Connector 256"/>
          <p:cNvCxnSpPr/>
          <p:nvPr userDrawn="1"/>
        </p:nvCxnSpPr>
        <p:spPr>
          <a:xfrm flipH="1">
            <a:off x="10291072" y="5104123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Straight Connector 257"/>
          <p:cNvCxnSpPr/>
          <p:nvPr userDrawn="1"/>
        </p:nvCxnSpPr>
        <p:spPr>
          <a:xfrm flipH="1">
            <a:off x="10291072" y="5719585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Straight Connector 258"/>
          <p:cNvCxnSpPr/>
          <p:nvPr userDrawn="1"/>
        </p:nvCxnSpPr>
        <p:spPr>
          <a:xfrm flipH="1">
            <a:off x="5750905" y="4377832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Straight Connector 259"/>
          <p:cNvCxnSpPr/>
          <p:nvPr userDrawn="1"/>
        </p:nvCxnSpPr>
        <p:spPr>
          <a:xfrm flipH="1">
            <a:off x="5750905" y="5024067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Straight Connector 260"/>
          <p:cNvCxnSpPr/>
          <p:nvPr userDrawn="1"/>
        </p:nvCxnSpPr>
        <p:spPr>
          <a:xfrm flipH="1">
            <a:off x="5750905" y="5630736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5512592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. Strategy Slid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2919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58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BLANK SLIDE FOR BESPOKE USE.</a:t>
            </a:r>
          </a:p>
        </p:txBody>
      </p:sp>
      <p:sp>
        <p:nvSpPr>
          <p:cNvPr id="7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7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44798075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. Strategy Slide Blank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1098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885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NFIDENTIAL SLIDE.</a:t>
            </a:r>
          </a:p>
        </p:txBody>
      </p:sp>
      <p:sp>
        <p:nvSpPr>
          <p:cNvPr id="5" name="Parallelogram 4"/>
          <p:cNvSpPr/>
          <p:nvPr userDrawn="1"/>
        </p:nvSpPr>
        <p:spPr>
          <a:xfrm rot="10800000" flipH="1">
            <a:off x="9353004" y="3501"/>
            <a:ext cx="1514367" cy="998836"/>
          </a:xfrm>
          <a:prstGeom prst="parallelogram">
            <a:avLst>
              <a:gd name="adj" fmla="val 100977"/>
            </a:avLst>
          </a:prstGeom>
          <a:solidFill>
            <a:schemeClr val="accent4"/>
          </a:solidFill>
          <a:ln>
            <a:noFill/>
          </a:ln>
          <a:effectLst>
            <a:outerShdw blurRad="381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 rot="2653766">
            <a:off x="9346483" y="320608"/>
            <a:ext cx="1546873" cy="3552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NFIDENTIAL</a:t>
            </a:r>
          </a:p>
        </p:txBody>
      </p:sp>
      <p:sp>
        <p:nvSpPr>
          <p:cNvPr id="6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65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65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06618867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. Strategy Slide 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40399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04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EXECUTIVE SUMMARY SLIDE.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36571" y="1548820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| 01</a:t>
            </a:r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557293" y="1550217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br>
              <a:rPr lang="en-US"/>
            </a:br>
            <a:r>
              <a:rPr lang="en-US"/>
              <a:t>• 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38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36571" y="2462733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| 02</a:t>
            </a:r>
          </a:p>
        </p:txBody>
      </p:sp>
      <p:sp>
        <p:nvSpPr>
          <p:cNvPr id="41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36570" y="3380924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/>
              <a:t>| 03</a:t>
            </a:r>
          </a:p>
        </p:txBody>
      </p:sp>
      <p:sp>
        <p:nvSpPr>
          <p:cNvPr id="44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736570" y="4298839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| 04</a:t>
            </a:r>
          </a:p>
        </p:txBody>
      </p:sp>
      <p:sp>
        <p:nvSpPr>
          <p:cNvPr id="50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736570" y="5184791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| 05</a:t>
            </a:r>
          </a:p>
        </p:txBody>
      </p:sp>
      <p:sp>
        <p:nvSpPr>
          <p:cNvPr id="52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1557293" y="2462733"/>
            <a:ext cx="5284941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br>
              <a:rPr lang="en-US"/>
            </a:br>
            <a:r>
              <a:rPr lang="en-US"/>
              <a:t>• Lea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</a:p>
        </p:txBody>
      </p:sp>
      <p:sp>
        <p:nvSpPr>
          <p:cNvPr id="53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1557293" y="3376282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br>
              <a:rPr lang="en-US"/>
            </a:br>
            <a:r>
              <a:rPr lang="en-US"/>
              <a:t>•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endParaRPr lang="en-US"/>
          </a:p>
        </p:txBody>
      </p:sp>
      <p:sp>
        <p:nvSpPr>
          <p:cNvPr id="54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1557293" y="4297539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 </a:t>
            </a:r>
            <a:r>
              <a:rPr lang="en-US" err="1"/>
              <a:t>prompta</a:t>
            </a:r>
            <a:r>
              <a:rPr lang="en-US"/>
              <a:t> qui no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55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1557293" y="5187109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imperdie</a:t>
            </a:r>
            <a:br>
              <a:rPr lang="en-US"/>
            </a:br>
            <a:r>
              <a:rPr lang="en-US"/>
              <a:t>•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</a:p>
        </p:txBody>
      </p:sp>
      <p:sp>
        <p:nvSpPr>
          <p:cNvPr id="5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5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5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2437024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6333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44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47899" y="6576501"/>
            <a:ext cx="1000224" cy="3007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1354" smtClean="0">
                <a:solidFill>
                  <a:schemeClr val="bg1"/>
                </a:solidFill>
              </a:defRPr>
            </a:lvl1pPr>
          </a:lstStyle>
          <a:p>
            <a:pPr algn="r"/>
            <a:fld id="{C8507A14-4665-4A48-8705-D94B2A19126F}" type="slidenum">
              <a:rPr lang="en-US" smtClean="0"/>
              <a:pPr algn="r"/>
              <a:t>‹Nº›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3076" y="6596057"/>
            <a:ext cx="8990928" cy="3007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1354">
                <a:solidFill>
                  <a:schemeClr val="bg1"/>
                </a:solidFill>
              </a:defRPr>
            </a:lvl1pPr>
          </a:lstStyle>
          <a:p>
            <a:r>
              <a:rPr lang="en-US"/>
              <a:t>Projects Update  I  January 22, 2019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43077" y="390655"/>
            <a:ext cx="9600000" cy="52578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451257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. Strategy Slide - 2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2106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WO GRAPHS/CHART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36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7"/>
            <a:ext cx="5116786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45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6198550" y="1876657"/>
            <a:ext cx="5116786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8549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198550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92175152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Front Cover Slide - Fibre Optic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FEABE88-742E-41C3-BB22-5C1E4EC979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592" imgH="591" progId="TCLayout.ActiveDocument.1">
                  <p:embed/>
                </p:oleObj>
              </mc:Choice>
              <mc:Fallback>
                <p:oleObj name="Diapositiva de think-cell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FEABE88-742E-41C3-BB22-5C1E4EC979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9972D0F-5B45-4A77-B504-F73820C547E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584BA00-5A5A-49D8-8A4C-5325E89B56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76" y="0"/>
            <a:ext cx="12188824" cy="5101753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7" cstate="screen">
            <a:alphaModFix amt="3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19861" y="0"/>
            <a:ext cx="2372139" cy="4802775"/>
          </a:xfrm>
          <a:prstGeom prst="rect">
            <a:avLst/>
          </a:prstGeom>
          <a:effectLst/>
        </p:spPr>
      </p:pic>
      <p:sp>
        <p:nvSpPr>
          <p:cNvPr id="10" name="Rounded Rectangle 9"/>
          <p:cNvSpPr/>
          <p:nvPr userDrawn="1"/>
        </p:nvSpPr>
        <p:spPr>
          <a:xfrm>
            <a:off x="2552617" y="4720143"/>
            <a:ext cx="1148080" cy="450932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548398" y="5081170"/>
            <a:ext cx="1144933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ounded Rectangle 11"/>
          <p:cNvSpPr/>
          <p:nvPr userDrawn="1"/>
        </p:nvSpPr>
        <p:spPr>
          <a:xfrm>
            <a:off x="1366112" y="4720143"/>
            <a:ext cx="1148080" cy="450932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1370281" y="5081170"/>
            <a:ext cx="1144933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ounded Rectangle 13"/>
          <p:cNvSpPr/>
          <p:nvPr userDrawn="1"/>
        </p:nvSpPr>
        <p:spPr>
          <a:xfrm>
            <a:off x="182404" y="4720143"/>
            <a:ext cx="1148080" cy="450932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223643" y="4629706"/>
            <a:ext cx="1119423" cy="61555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400">
                <a:solidFill>
                  <a:schemeClr val="bg1"/>
                </a:solidFill>
                <a:effectLst/>
              </a:rPr>
              <a:t>Part of Liberty Latin America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144" t="13098" r="7849" b="8586"/>
          <a:stretch/>
        </p:blipFill>
        <p:spPr>
          <a:xfrm>
            <a:off x="310601" y="4778187"/>
            <a:ext cx="873110" cy="232210"/>
          </a:xfrm>
          <a:prstGeom prst="rect">
            <a:avLst/>
          </a:prstGeom>
          <a:effectLst/>
        </p:spPr>
      </p:pic>
      <p:cxnSp>
        <p:nvCxnSpPr>
          <p:cNvPr id="17" name="Straight Connector 16"/>
          <p:cNvCxnSpPr/>
          <p:nvPr userDrawn="1"/>
        </p:nvCxnSpPr>
        <p:spPr>
          <a:xfrm flipV="1">
            <a:off x="182404" y="5087344"/>
            <a:ext cx="1149102" cy="14409"/>
          </a:xfrm>
          <a:prstGeom prst="line">
            <a:avLst/>
          </a:prstGeom>
          <a:ln w="38100">
            <a:solidFill>
              <a:schemeClr val="accent6">
                <a:lumMod val="50000"/>
              </a:schemeClr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5868983"/>
            <a:ext cx="2743200" cy="271225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09CF5F40-A6E3-4F12-980F-3C2C12AE0FC5}" type="datetime2">
              <a:rPr lang="en-US" smtClean="0"/>
              <a:t>Sunday, July 17, 2022</a:t>
            </a:fld>
            <a:endParaRPr lang="en-US"/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5511800"/>
            <a:ext cx="9939866" cy="529167"/>
          </a:xfrm>
          <a:prstGeom prst="rect">
            <a:avLst/>
          </a:prstGeom>
        </p:spPr>
        <p:txBody>
          <a:bodyPr lIns="0" tIns="0" rIns="0" bIns="0"/>
          <a:lstStyle>
            <a:lvl1pPr>
              <a:defRPr baseline="0"/>
            </a:lvl1pPr>
          </a:lstStyle>
          <a:p>
            <a:r>
              <a:rPr lang="en-US"/>
              <a:t>FRONT COVER SLIDE | UPPERCASE ONLY | 32P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6110869"/>
            <a:ext cx="9939867" cy="345184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aseline="0"/>
            </a:lvl1pPr>
          </a:lstStyle>
          <a:p>
            <a:pPr lvl="0"/>
            <a:r>
              <a:rPr lang="en-US"/>
              <a:t>FRONT COVER SUB HEADING | UPPERCASE ONLY | 18PT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0" y="5098454"/>
            <a:ext cx="12191999" cy="2826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cxnSp>
        <p:nvCxnSpPr>
          <p:cNvPr id="26" name="Straight Connector 25"/>
          <p:cNvCxnSpPr/>
          <p:nvPr userDrawn="1"/>
        </p:nvCxnSpPr>
        <p:spPr>
          <a:xfrm>
            <a:off x="0" y="5083683"/>
            <a:ext cx="12192000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3" name="Picture 52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4123" y="4731140"/>
            <a:ext cx="692427" cy="325697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0811" y="4755817"/>
            <a:ext cx="653109" cy="268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688407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Strategy Slide -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9930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31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NTENTS PAGE/SLIDE WITH NUMBERS.</a:t>
            </a:r>
          </a:p>
        </p:txBody>
      </p:sp>
      <p:graphicFrame>
        <p:nvGraphicFramePr>
          <p:cNvPr id="12" name="Table 11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31690254"/>
              </p:ext>
            </p:extLst>
          </p:nvPr>
        </p:nvGraphicFramePr>
        <p:xfrm>
          <a:off x="725212" y="1553302"/>
          <a:ext cx="10773104" cy="4246129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94488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43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INTRODUCTION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6254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IRST TOPIC HER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  <a:endParaRPr lang="en-US" sz="1200" baseline="0">
                        <a:solidFill>
                          <a:schemeClr val="accent3"/>
                        </a:solidFill>
                      </a:endParaRP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Third Subject Heading Her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3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4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5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3682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ECOND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TOPIC HER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7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8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9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THIRD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0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OURTH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62546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IFTH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Third Subject Heading Her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8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19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20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2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IXTH TOPIC HERE.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2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EVENTH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TOPIC HER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4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7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8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00364919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Strategy Slide - Intro Para,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1709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NTRO PARAGRAPH WITH BULLET POINTS AND PICTURE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26231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72420836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Strategy Slide - Intro Para, Bullets, 4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4981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NTRO PARAGRAPH WITH BULLET POINTS AND 4 X PICTURES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1" y="15525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26231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37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804400" y="15525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38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7550151" y="37623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39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9804400" y="37623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40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41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2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70450720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 Strategy Slide - Large Bol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79454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050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LARGE BOLD TEXT FOR CREATIVE INTEREST.</a:t>
            </a:r>
          </a:p>
        </p:txBody>
      </p:sp>
      <p:sp>
        <p:nvSpPr>
          <p:cNvPr id="44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10348785" cy="43800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4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4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901321374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 Strategy Slide - Large Bold 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4319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86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LARGE BOLD TEXT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5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6444347" cy="32050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s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</a:t>
            </a:r>
          </a:p>
        </p:txBody>
      </p:sp>
      <p:sp>
        <p:nvSpPr>
          <p:cNvPr id="7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7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138490577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 Strategy Slide - Numbered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6539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7453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NUMBERED BULLET POINTS WITH DESCRIPTIONS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36571" y="1548820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| 01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546783" y="1548820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4" y="2080519"/>
            <a:ext cx="5980386" cy="408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7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36571" y="2678157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| 02</a:t>
            </a:r>
          </a:p>
        </p:txBody>
      </p:sp>
      <p:sp>
        <p:nvSpPr>
          <p:cNvPr id="77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546783" y="2678157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7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25214" y="3209856"/>
            <a:ext cx="5475889" cy="408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79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36571" y="3809511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| 03</a:t>
            </a:r>
          </a:p>
        </p:txBody>
      </p:sp>
      <p:sp>
        <p:nvSpPr>
          <p:cNvPr id="80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1546783" y="3809511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81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725214" y="4341210"/>
            <a:ext cx="5707117" cy="392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5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736571" y="4927598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| 04</a:t>
            </a:r>
          </a:p>
        </p:txBody>
      </p:sp>
      <p:sp>
        <p:nvSpPr>
          <p:cNvPr id="86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1546783" y="4927598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87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725214" y="5459297"/>
            <a:ext cx="5085527" cy="392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9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9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517953197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 Strategy Slide - Icon/Symbol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751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86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CON/SYMBOL BULLET POINTS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546782" y="1548820"/>
            <a:ext cx="5493795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4" hasCustomPrompt="1"/>
          </p:nvPr>
        </p:nvSpPr>
        <p:spPr>
          <a:xfrm>
            <a:off x="725213" y="1536239"/>
            <a:ext cx="726483" cy="584200"/>
          </a:xfrm>
          <a:prstGeom prst="rect">
            <a:avLst/>
          </a:prstGeom>
          <a:solidFill>
            <a:schemeClr val="accent3">
              <a:lumMod val="5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54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1546782" y="2362201"/>
            <a:ext cx="5751873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55" name="Picture Placeholder 5"/>
          <p:cNvSpPr>
            <a:spLocks noGrp="1"/>
          </p:cNvSpPr>
          <p:nvPr>
            <p:ph type="pic" sz="quarter" idx="26" hasCustomPrompt="1"/>
          </p:nvPr>
        </p:nvSpPr>
        <p:spPr>
          <a:xfrm>
            <a:off x="725213" y="2349620"/>
            <a:ext cx="726483" cy="584200"/>
          </a:xfrm>
          <a:prstGeom prst="rect">
            <a:avLst/>
          </a:prstGeom>
          <a:solidFill>
            <a:schemeClr val="accent3">
              <a:lumMod val="75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82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1546783" y="3191126"/>
            <a:ext cx="4801368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3" name="Picture Placeholder 5"/>
          <p:cNvSpPr>
            <a:spLocks noGrp="1"/>
          </p:cNvSpPr>
          <p:nvPr>
            <p:ph type="pic" sz="quarter" idx="28" hasCustomPrompt="1"/>
          </p:nvPr>
        </p:nvSpPr>
        <p:spPr>
          <a:xfrm>
            <a:off x="725213" y="3178545"/>
            <a:ext cx="726483" cy="584200"/>
          </a:xfrm>
          <a:prstGeom prst="rect">
            <a:avLst/>
          </a:prstGeom>
          <a:solidFill>
            <a:schemeClr val="accent3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84" name="Text Placeholder 9"/>
          <p:cNvSpPr>
            <a:spLocks noGrp="1"/>
          </p:cNvSpPr>
          <p:nvPr>
            <p:ph type="body" sz="quarter" idx="29" hasCustomPrompt="1"/>
          </p:nvPr>
        </p:nvSpPr>
        <p:spPr>
          <a:xfrm>
            <a:off x="1546783" y="4034623"/>
            <a:ext cx="5493794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br>
              <a:rPr lang="en-US"/>
            </a:b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8" name="Picture Placeholder 5"/>
          <p:cNvSpPr>
            <a:spLocks noGrp="1"/>
          </p:cNvSpPr>
          <p:nvPr>
            <p:ph type="pic" sz="quarter" idx="30" hasCustomPrompt="1"/>
          </p:nvPr>
        </p:nvSpPr>
        <p:spPr>
          <a:xfrm>
            <a:off x="725213" y="4022042"/>
            <a:ext cx="726483" cy="584200"/>
          </a:xfrm>
          <a:prstGeom prst="rect">
            <a:avLst/>
          </a:prstGeom>
          <a:solidFill>
            <a:schemeClr val="tx1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93" name="Text Placeholder 9"/>
          <p:cNvSpPr>
            <a:spLocks noGrp="1"/>
          </p:cNvSpPr>
          <p:nvPr>
            <p:ph type="body" sz="quarter" idx="31" hasCustomPrompt="1"/>
          </p:nvPr>
        </p:nvSpPr>
        <p:spPr>
          <a:xfrm>
            <a:off x="1546783" y="4874167"/>
            <a:ext cx="5863010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94" name="Picture Placeholder 5"/>
          <p:cNvSpPr>
            <a:spLocks noGrp="1"/>
          </p:cNvSpPr>
          <p:nvPr>
            <p:ph type="pic" sz="quarter" idx="32" hasCustomPrompt="1"/>
          </p:nvPr>
        </p:nvSpPr>
        <p:spPr>
          <a:xfrm>
            <a:off x="725213" y="4861586"/>
            <a:ext cx="726483" cy="584200"/>
          </a:xfrm>
          <a:prstGeom prst="rect">
            <a:avLst/>
          </a:prstGeom>
          <a:solidFill>
            <a:schemeClr val="tx2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9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9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9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16779538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 Strategy Slide - 5 Circle Icon/Symbol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0030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cxnSp>
        <p:nvCxnSpPr>
          <p:cNvPr id="92" name="Straight Connector 91"/>
          <p:cNvCxnSpPr/>
          <p:nvPr userDrawn="1"/>
        </p:nvCxnSpPr>
        <p:spPr>
          <a:xfrm>
            <a:off x="2069538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/>
          <p:nvPr userDrawn="1"/>
        </p:nvCxnSpPr>
        <p:spPr>
          <a:xfrm>
            <a:off x="4054400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1750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FIVE CIRCLE ICON/SYMBOLS WITH BULLET POINTS.</a:t>
            </a:r>
          </a:p>
        </p:txBody>
      </p:sp>
      <p:sp>
        <p:nvSpPr>
          <p:cNvPr id="80" name="Oval 79"/>
          <p:cNvSpPr/>
          <p:nvPr userDrawn="1"/>
        </p:nvSpPr>
        <p:spPr>
          <a:xfrm>
            <a:off x="1401475" y="1653167"/>
            <a:ext cx="1341345" cy="1341345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85" name="TextBox 84"/>
          <p:cNvSpPr txBox="1"/>
          <p:nvPr userDrawn="1"/>
        </p:nvSpPr>
        <p:spPr>
          <a:xfrm>
            <a:off x="1636402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1</a:t>
            </a:r>
          </a:p>
        </p:txBody>
      </p:sp>
      <p:pic>
        <p:nvPicPr>
          <p:cNvPr id="86" name="Picture 85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7578" y="2424127"/>
            <a:ext cx="575529" cy="383686"/>
          </a:xfrm>
          <a:prstGeom prst="rect">
            <a:avLst/>
          </a:prstGeom>
        </p:spPr>
      </p:pic>
      <p:sp>
        <p:nvSpPr>
          <p:cNvPr id="10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232815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06" name="Oval 105"/>
          <p:cNvSpPr/>
          <p:nvPr userDrawn="1"/>
        </p:nvSpPr>
        <p:spPr>
          <a:xfrm>
            <a:off x="3386337" y="1653167"/>
            <a:ext cx="1341345" cy="1341345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7" name="TextBox 106"/>
          <p:cNvSpPr txBox="1"/>
          <p:nvPr userDrawn="1"/>
        </p:nvSpPr>
        <p:spPr>
          <a:xfrm>
            <a:off x="3621264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1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217677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99" name="Picture 98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5852" y="2409762"/>
            <a:ext cx="277095" cy="512721"/>
          </a:xfrm>
          <a:prstGeom prst="rect">
            <a:avLst/>
          </a:prstGeom>
        </p:spPr>
      </p:pic>
      <p:cxnSp>
        <p:nvCxnSpPr>
          <p:cNvPr id="112" name="Straight Connector 111"/>
          <p:cNvCxnSpPr/>
          <p:nvPr userDrawn="1"/>
        </p:nvCxnSpPr>
        <p:spPr>
          <a:xfrm>
            <a:off x="6044322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Oval 112"/>
          <p:cNvSpPr/>
          <p:nvPr userDrawn="1"/>
        </p:nvSpPr>
        <p:spPr>
          <a:xfrm>
            <a:off x="5376259" y="1653167"/>
            <a:ext cx="1341345" cy="1341345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4" name="TextBox 113"/>
          <p:cNvSpPr txBox="1"/>
          <p:nvPr userDrawn="1"/>
        </p:nvSpPr>
        <p:spPr>
          <a:xfrm>
            <a:off x="5611186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11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207599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98" name="Picture 97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75509" y="2370311"/>
            <a:ext cx="537625" cy="472590"/>
          </a:xfrm>
          <a:prstGeom prst="rect">
            <a:avLst/>
          </a:prstGeom>
        </p:spPr>
      </p:pic>
      <p:cxnSp>
        <p:nvCxnSpPr>
          <p:cNvPr id="118" name="Straight Connector 117"/>
          <p:cNvCxnSpPr/>
          <p:nvPr userDrawn="1"/>
        </p:nvCxnSpPr>
        <p:spPr>
          <a:xfrm>
            <a:off x="8017846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Oval 118"/>
          <p:cNvSpPr/>
          <p:nvPr userDrawn="1"/>
        </p:nvSpPr>
        <p:spPr>
          <a:xfrm>
            <a:off x="7349783" y="1653167"/>
            <a:ext cx="1341345" cy="1341345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20" name="TextBox 119"/>
          <p:cNvSpPr txBox="1"/>
          <p:nvPr userDrawn="1"/>
        </p:nvSpPr>
        <p:spPr>
          <a:xfrm>
            <a:off x="7584710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4</a:t>
            </a:r>
          </a:p>
        </p:txBody>
      </p:sp>
      <p:sp>
        <p:nvSpPr>
          <p:cNvPr id="122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181123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100" name="Picture 99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1756" y="2406174"/>
            <a:ext cx="432179" cy="410414"/>
          </a:xfrm>
          <a:prstGeom prst="rect">
            <a:avLst/>
          </a:prstGeom>
        </p:spPr>
      </p:pic>
      <p:cxnSp>
        <p:nvCxnSpPr>
          <p:cNvPr id="124" name="Straight Connector 123"/>
          <p:cNvCxnSpPr/>
          <p:nvPr userDrawn="1"/>
        </p:nvCxnSpPr>
        <p:spPr>
          <a:xfrm>
            <a:off x="9988760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Oval 124"/>
          <p:cNvSpPr/>
          <p:nvPr userDrawn="1"/>
        </p:nvSpPr>
        <p:spPr>
          <a:xfrm>
            <a:off x="9320697" y="1653167"/>
            <a:ext cx="1341345" cy="134134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26" name="TextBox 125"/>
          <p:cNvSpPr txBox="1"/>
          <p:nvPr userDrawn="1"/>
        </p:nvSpPr>
        <p:spPr>
          <a:xfrm>
            <a:off x="9555624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5</a:t>
            </a:r>
          </a:p>
        </p:txBody>
      </p:sp>
      <p:sp>
        <p:nvSpPr>
          <p:cNvPr id="12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52037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130" name="Picture 129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0669" y="2430632"/>
            <a:ext cx="596182" cy="340676"/>
          </a:xfrm>
          <a:prstGeom prst="rect">
            <a:avLst/>
          </a:prstGeom>
        </p:spPr>
      </p:pic>
      <p:sp>
        <p:nvSpPr>
          <p:cNvPr id="42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1232815" y="3524598"/>
            <a:ext cx="1672617" cy="396240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PEOPLE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3215559" y="3524598"/>
            <a:ext cx="1672617" cy="396240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PLACE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5208012" y="3524598"/>
            <a:ext cx="1672617" cy="396240"/>
          </a:xfrm>
          <a:prstGeom prst="rect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TIME</a:t>
            </a:r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7176317" y="3524598"/>
            <a:ext cx="1672617" cy="396240"/>
          </a:xfrm>
          <a:prstGeom prst="rect">
            <a:avLst/>
          </a:prstGeo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RESULT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9144622" y="3524598"/>
            <a:ext cx="1672617" cy="396240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FUTURE</a:t>
            </a:r>
          </a:p>
        </p:txBody>
      </p:sp>
      <p:sp>
        <p:nvSpPr>
          <p:cNvPr id="3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70561497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 Strategy Slide - 3 Numbered Boxes with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4162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58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NUMBERED BOXES WITH TEXT/BULLET POINTS.</a:t>
            </a:r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3044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73149" y="19337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841881" y="18508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41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9239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692649" y="19337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4461381" y="18508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613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5434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55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312149" y="19337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6" name="Oval 55"/>
          <p:cNvSpPr/>
          <p:nvPr userDrawn="1"/>
        </p:nvSpPr>
        <p:spPr>
          <a:xfrm>
            <a:off x="8080881" y="18508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080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6190234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. Strategy Slide - 3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8866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1225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GRAPHS/CHART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40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6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4379234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7923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9" name="Chart Placeholder 4"/>
          <p:cNvSpPr>
            <a:spLocks noGrp="1"/>
          </p:cNvSpPr>
          <p:nvPr>
            <p:ph type="chart" sz="quarter" idx="18" hasCustomPrompt="1"/>
          </p:nvPr>
        </p:nvSpPr>
        <p:spPr>
          <a:xfrm>
            <a:off x="8046320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046319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83600745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 Strategy Slide - 6 Numbered Boxes with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96376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31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NUMBERED BOXES WITH TEXT.</a:t>
            </a:r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3044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.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73149" y="19337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841881" y="18508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41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9239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</a:t>
            </a:r>
            <a:endParaRPr lang="en-US"/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692649" y="19337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4461381" y="18508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613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5434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55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312149" y="19337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6" name="Oval 55"/>
          <p:cNvSpPr/>
          <p:nvPr userDrawn="1"/>
        </p:nvSpPr>
        <p:spPr>
          <a:xfrm>
            <a:off x="8080881" y="18508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080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13044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</a:t>
            </a:r>
            <a:endParaRPr lang="en-US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1073149" y="41689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23" name="Oval 22"/>
          <p:cNvSpPr/>
          <p:nvPr userDrawn="1"/>
        </p:nvSpPr>
        <p:spPr>
          <a:xfrm>
            <a:off x="841881" y="40860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8418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49239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4692649" y="41689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27" name="Oval 26"/>
          <p:cNvSpPr/>
          <p:nvPr userDrawn="1"/>
        </p:nvSpPr>
        <p:spPr>
          <a:xfrm>
            <a:off x="4461381" y="40860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8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44613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0" hasCustomPrompt="1"/>
          </p:nvPr>
        </p:nvSpPr>
        <p:spPr>
          <a:xfrm>
            <a:off x="85434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.</a:t>
            </a:r>
          </a:p>
        </p:txBody>
      </p:sp>
      <p:sp>
        <p:nvSpPr>
          <p:cNvPr id="30" name="Text Placeholder 8"/>
          <p:cNvSpPr>
            <a:spLocks noGrp="1"/>
          </p:cNvSpPr>
          <p:nvPr>
            <p:ph type="body" sz="quarter" idx="31" hasCustomPrompt="1"/>
          </p:nvPr>
        </p:nvSpPr>
        <p:spPr>
          <a:xfrm>
            <a:off x="8312149" y="41689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31" name="Oval 30"/>
          <p:cNvSpPr/>
          <p:nvPr userDrawn="1"/>
        </p:nvSpPr>
        <p:spPr>
          <a:xfrm>
            <a:off x="8080881" y="40860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2" name="Text Placeholder 10"/>
          <p:cNvSpPr>
            <a:spLocks noGrp="1"/>
          </p:cNvSpPr>
          <p:nvPr>
            <p:ph type="body" sz="quarter" idx="32" hasCustomPrompt="1"/>
          </p:nvPr>
        </p:nvSpPr>
        <p:spPr>
          <a:xfrm>
            <a:off x="80808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3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9846455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 Strategy Slide - Intro Text, Bullets and On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4750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548877" y="1568107"/>
            <a:ext cx="4324035" cy="4411663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ONE GRAPH/CHART AND TEXT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7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52009796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. Strategy Slide - 2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4065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WO GRAPHS/CHART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36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7"/>
            <a:ext cx="5116786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45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6198550" y="1876657"/>
            <a:ext cx="5116786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8549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198550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52748290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. Strategy Slide - 3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93082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1225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GRAPHS/CHART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40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6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4379234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7923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9" name="Chart Placeholder 4"/>
          <p:cNvSpPr>
            <a:spLocks noGrp="1"/>
          </p:cNvSpPr>
          <p:nvPr>
            <p:ph type="chart" sz="quarter" idx="18" hasCustomPrompt="1"/>
          </p:nvPr>
        </p:nvSpPr>
        <p:spPr>
          <a:xfrm>
            <a:off x="8046320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046319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19083518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. Strategy Slide - 6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86007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362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GRAPHS/CHART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40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8"/>
            <a:ext cx="3167517" cy="16417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6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4379234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9" name="Chart Placeholder 4"/>
          <p:cNvSpPr>
            <a:spLocks noGrp="1"/>
          </p:cNvSpPr>
          <p:nvPr>
            <p:ph type="chart" sz="quarter" idx="18" hasCustomPrompt="1"/>
          </p:nvPr>
        </p:nvSpPr>
        <p:spPr>
          <a:xfrm>
            <a:off x="8046320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8" name="Chart Placeholder 4"/>
          <p:cNvSpPr>
            <a:spLocks noGrp="1"/>
          </p:cNvSpPr>
          <p:nvPr>
            <p:ph type="chart" sz="quarter" idx="21" hasCustomPrompt="1"/>
          </p:nvPr>
        </p:nvSpPr>
        <p:spPr>
          <a:xfrm>
            <a:off x="725214" y="4293286"/>
            <a:ext cx="3167517" cy="16417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2521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23" hasCustomPrompt="1"/>
          </p:nvPr>
        </p:nvSpPr>
        <p:spPr>
          <a:xfrm>
            <a:off x="4379234" y="429328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7923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2" name="Chart Placeholder 4"/>
          <p:cNvSpPr>
            <a:spLocks noGrp="1"/>
          </p:cNvSpPr>
          <p:nvPr>
            <p:ph type="chart" sz="quarter" idx="25" hasCustomPrompt="1"/>
          </p:nvPr>
        </p:nvSpPr>
        <p:spPr>
          <a:xfrm>
            <a:off x="8046320" y="429328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046320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725214" y="3735977"/>
            <a:ext cx="1048862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00102914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. Strategy Slide - Table 9 Rows /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14621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78" imgH="377" progId="TCLayout.ActiveDocument.1">
                  <p:embed/>
                </p:oleObj>
              </mc:Choice>
              <mc:Fallback>
                <p:oleObj name="Diapositiva de think-cell" r:id="rId5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349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ABLE 9 ROWS AND 9 COLUMNS</a:t>
            </a:r>
          </a:p>
        </p:txBody>
      </p:sp>
      <p:graphicFrame>
        <p:nvGraphicFramePr>
          <p:cNvPr id="33" name="Group 3"/>
          <p:cNvGraphicFramePr>
            <a:graphicFrameLocks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71890742"/>
              </p:ext>
            </p:extLst>
          </p:nvPr>
        </p:nvGraphicFramePr>
        <p:xfrm>
          <a:off x="783770" y="1534944"/>
          <a:ext cx="10377812" cy="4317034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16969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3161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1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34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5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6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701325121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. Strategy Slide - Table 4 Rows /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3818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78" imgH="377" progId="TCLayout.ActiveDocument.1">
                  <p:embed/>
                </p:oleObj>
              </mc:Choice>
              <mc:Fallback>
                <p:oleObj name="Diapositiva de think-cell" r:id="rId5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511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ABLE 3 COLUMNS 4 ROWS</a:t>
            </a:r>
          </a:p>
        </p:txBody>
      </p:sp>
      <p:graphicFrame>
        <p:nvGraphicFramePr>
          <p:cNvPr id="34" name="Group 4"/>
          <p:cNvGraphicFramePr>
            <a:graphicFrameLocks noGrp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48686963"/>
              </p:ext>
            </p:extLst>
          </p:nvPr>
        </p:nvGraphicFramePr>
        <p:xfrm>
          <a:off x="954157" y="1584125"/>
          <a:ext cx="10207427" cy="4260849"/>
        </p:xfrm>
        <a:graphic>
          <a:graphicData uri="http://schemas.openxmlformats.org/drawingml/2006/table">
            <a:tbl>
              <a:tblPr/>
              <a:tblGrid>
                <a:gridCol w="11565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1942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endParaRPr kumimoji="0" lang="en-US" sz="1100" b="0" i="1" u="none" strike="noStrike" cap="none" normalizeH="0" baseline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</a:endParaRP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71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..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9141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9383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3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889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4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589671111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. Strategy Slide - 1 Tab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92355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4" hasCustomPrompt="1"/>
          </p:nvPr>
        </p:nvSpPr>
        <p:spPr>
          <a:xfrm>
            <a:off x="7547605" y="1568107"/>
            <a:ext cx="4325307" cy="441166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033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ONE TABLE AND TEXT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7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024785251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. Strategy Slide - 2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4783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WO TABLE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8549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198550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15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725213" y="1876657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6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6198548" y="1876657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0800626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. Strategy Slide - 3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8786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TABLE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7923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046319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8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725213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9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4379232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0" name="Table Placeholder 5"/>
          <p:cNvSpPr>
            <a:spLocks noGrp="1"/>
          </p:cNvSpPr>
          <p:nvPr>
            <p:ph type="tbl" sz="quarter" idx="23" hasCustomPrompt="1"/>
          </p:nvPr>
        </p:nvSpPr>
        <p:spPr>
          <a:xfrm>
            <a:off x="8033882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1264999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. Strategy Slide - 6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3924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362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GRAPHS/CHART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40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8"/>
            <a:ext cx="3167517" cy="16417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6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4379234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9" name="Chart Placeholder 4"/>
          <p:cNvSpPr>
            <a:spLocks noGrp="1"/>
          </p:cNvSpPr>
          <p:nvPr>
            <p:ph type="chart" sz="quarter" idx="18" hasCustomPrompt="1"/>
          </p:nvPr>
        </p:nvSpPr>
        <p:spPr>
          <a:xfrm>
            <a:off x="8046320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8" name="Chart Placeholder 4"/>
          <p:cNvSpPr>
            <a:spLocks noGrp="1"/>
          </p:cNvSpPr>
          <p:nvPr>
            <p:ph type="chart" sz="quarter" idx="21" hasCustomPrompt="1"/>
          </p:nvPr>
        </p:nvSpPr>
        <p:spPr>
          <a:xfrm>
            <a:off x="725214" y="4293286"/>
            <a:ext cx="3167517" cy="16417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2521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23" hasCustomPrompt="1"/>
          </p:nvPr>
        </p:nvSpPr>
        <p:spPr>
          <a:xfrm>
            <a:off x="4379234" y="429328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7923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2" name="Chart Placeholder 4"/>
          <p:cNvSpPr>
            <a:spLocks noGrp="1"/>
          </p:cNvSpPr>
          <p:nvPr>
            <p:ph type="chart" sz="quarter" idx="25" hasCustomPrompt="1"/>
          </p:nvPr>
        </p:nvSpPr>
        <p:spPr>
          <a:xfrm>
            <a:off x="8046320" y="429328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046320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725214" y="3735977"/>
            <a:ext cx="1048862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23076771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. Strategy Slide - 6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6449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67971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TABLES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2521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7923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046320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725214" y="3735977"/>
            <a:ext cx="1048862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able Placeholder 5"/>
          <p:cNvSpPr>
            <a:spLocks noGrp="1"/>
          </p:cNvSpPr>
          <p:nvPr>
            <p:ph type="tbl" sz="quarter" idx="27" hasCustomPrompt="1"/>
          </p:nvPr>
        </p:nvSpPr>
        <p:spPr>
          <a:xfrm>
            <a:off x="725213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5" name="Table Placeholder 5"/>
          <p:cNvSpPr>
            <a:spLocks noGrp="1"/>
          </p:cNvSpPr>
          <p:nvPr>
            <p:ph type="tbl" sz="quarter" idx="28" hasCustomPrompt="1"/>
          </p:nvPr>
        </p:nvSpPr>
        <p:spPr>
          <a:xfrm>
            <a:off x="4379233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6" name="Table Placeholder 5"/>
          <p:cNvSpPr>
            <a:spLocks noGrp="1"/>
          </p:cNvSpPr>
          <p:nvPr>
            <p:ph type="tbl" sz="quarter" idx="29" hasCustomPrompt="1"/>
          </p:nvPr>
        </p:nvSpPr>
        <p:spPr>
          <a:xfrm>
            <a:off x="8046320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7" name="Table Placeholder 5"/>
          <p:cNvSpPr>
            <a:spLocks noGrp="1"/>
          </p:cNvSpPr>
          <p:nvPr>
            <p:ph type="tbl" sz="quarter" idx="30" hasCustomPrompt="1"/>
          </p:nvPr>
        </p:nvSpPr>
        <p:spPr>
          <a:xfrm>
            <a:off x="725213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8" name="Table Placeholder 5"/>
          <p:cNvSpPr>
            <a:spLocks noGrp="1"/>
          </p:cNvSpPr>
          <p:nvPr>
            <p:ph type="tbl" sz="quarter" idx="31" hasCustomPrompt="1"/>
          </p:nvPr>
        </p:nvSpPr>
        <p:spPr>
          <a:xfrm>
            <a:off x="4379233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9" name="Table Placeholder 5"/>
          <p:cNvSpPr>
            <a:spLocks noGrp="1"/>
          </p:cNvSpPr>
          <p:nvPr>
            <p:ph type="tbl" sz="quarter" idx="32" hasCustomPrompt="1"/>
          </p:nvPr>
        </p:nvSpPr>
        <p:spPr>
          <a:xfrm>
            <a:off x="8046320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48393810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. Strategy Slide - Process Closed Lo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6183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472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PROCESS CLOSED LOOP WITH INTRO TEXT AND BULLETS</a:t>
            </a:r>
          </a:p>
        </p:txBody>
      </p:sp>
      <p:grpSp>
        <p:nvGrpSpPr>
          <p:cNvPr id="33" name="Group 32"/>
          <p:cNvGrpSpPr/>
          <p:nvPr userDrawn="1"/>
        </p:nvGrpSpPr>
        <p:grpSpPr>
          <a:xfrm>
            <a:off x="6152742" y="1530826"/>
            <a:ext cx="5205413" cy="4535487"/>
            <a:chOff x="1905000" y="1773238"/>
            <a:chExt cx="5205413" cy="4535487"/>
          </a:xfrm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34" name="Freeform 33"/>
            <p:cNvSpPr>
              <a:spLocks/>
            </p:cNvSpPr>
            <p:nvPr/>
          </p:nvSpPr>
          <p:spPr bwMode="blackWhite">
            <a:xfrm>
              <a:off x="5729288" y="3216275"/>
              <a:ext cx="1381125" cy="1874838"/>
            </a:xfrm>
            <a:custGeom>
              <a:avLst/>
              <a:gdLst>
                <a:gd name="T0" fmla="*/ 461616 w 852"/>
                <a:gd name="T1" fmla="*/ 1873218 h 1157"/>
                <a:gd name="T2" fmla="*/ 1493670 w 852"/>
                <a:gd name="T3" fmla="*/ 1852152 h 1157"/>
                <a:gd name="T4" fmla="*/ 1172469 w 852"/>
                <a:gd name="T5" fmla="*/ 1672284 h 1157"/>
                <a:gd name="T6" fmla="*/ 1233901 w 852"/>
                <a:gd name="T7" fmla="*/ 1552372 h 1157"/>
                <a:gd name="T8" fmla="*/ 1286557 w 852"/>
                <a:gd name="T9" fmla="*/ 1429219 h 1157"/>
                <a:gd name="T10" fmla="*/ 1330437 w 852"/>
                <a:gd name="T11" fmla="*/ 1302826 h 1157"/>
                <a:gd name="T12" fmla="*/ 1360275 w 852"/>
                <a:gd name="T13" fmla="*/ 1171571 h 1157"/>
                <a:gd name="T14" fmla="*/ 1386603 w 852"/>
                <a:gd name="T15" fmla="*/ 1040316 h 1157"/>
                <a:gd name="T16" fmla="*/ 1400645 w 852"/>
                <a:gd name="T17" fmla="*/ 909061 h 1157"/>
                <a:gd name="T18" fmla="*/ 1405910 w 852"/>
                <a:gd name="T19" fmla="*/ 774566 h 1157"/>
                <a:gd name="T20" fmla="*/ 1400645 w 852"/>
                <a:gd name="T21" fmla="*/ 640070 h 1157"/>
                <a:gd name="T22" fmla="*/ 1384848 w 852"/>
                <a:gd name="T23" fmla="*/ 508815 h 1157"/>
                <a:gd name="T24" fmla="*/ 1360275 w 852"/>
                <a:gd name="T25" fmla="*/ 377560 h 1157"/>
                <a:gd name="T26" fmla="*/ 1326926 w 852"/>
                <a:gd name="T27" fmla="*/ 247926 h 1157"/>
                <a:gd name="T28" fmla="*/ 1281291 w 852"/>
                <a:gd name="T29" fmla="*/ 121532 h 1157"/>
                <a:gd name="T30" fmla="*/ 1230391 w 852"/>
                <a:gd name="T31" fmla="*/ 0 h 1157"/>
                <a:gd name="T32" fmla="*/ 956581 w 852"/>
                <a:gd name="T33" fmla="*/ 479647 h 1157"/>
                <a:gd name="T34" fmla="*/ 365080 w 852"/>
                <a:gd name="T35" fmla="*/ 471545 h 1157"/>
                <a:gd name="T36" fmla="*/ 389653 w 852"/>
                <a:gd name="T37" fmla="*/ 559048 h 1157"/>
                <a:gd name="T38" fmla="*/ 405450 w 852"/>
                <a:gd name="T39" fmla="*/ 651413 h 1157"/>
                <a:gd name="T40" fmla="*/ 412470 w 852"/>
                <a:gd name="T41" fmla="*/ 743777 h 1157"/>
                <a:gd name="T42" fmla="*/ 410715 w 852"/>
                <a:gd name="T43" fmla="*/ 832901 h 1157"/>
                <a:gd name="T44" fmla="*/ 401939 w 852"/>
                <a:gd name="T45" fmla="*/ 925266 h 1157"/>
                <a:gd name="T46" fmla="*/ 380877 w 852"/>
                <a:gd name="T47" fmla="*/ 1016010 h 1157"/>
                <a:gd name="T48" fmla="*/ 356304 w 852"/>
                <a:gd name="T49" fmla="*/ 1106754 h 1157"/>
                <a:gd name="T50" fmla="*/ 317690 w 852"/>
                <a:gd name="T51" fmla="*/ 1189396 h 1157"/>
                <a:gd name="T52" fmla="*/ 0 w 852"/>
                <a:gd name="T53" fmla="*/ 1017630 h 1157"/>
                <a:gd name="T54" fmla="*/ 461616 w 852"/>
                <a:gd name="T55" fmla="*/ 1873218 h 115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852"/>
                <a:gd name="T85" fmla="*/ 0 h 1157"/>
                <a:gd name="T86" fmla="*/ 852 w 852"/>
                <a:gd name="T87" fmla="*/ 1157 h 115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852" h="1157">
                  <a:moveTo>
                    <a:pt x="263" y="1156"/>
                  </a:moveTo>
                  <a:lnTo>
                    <a:pt x="851" y="1143"/>
                  </a:lnTo>
                  <a:lnTo>
                    <a:pt x="668" y="1032"/>
                  </a:lnTo>
                  <a:lnTo>
                    <a:pt x="703" y="958"/>
                  </a:lnTo>
                  <a:lnTo>
                    <a:pt x="733" y="882"/>
                  </a:lnTo>
                  <a:lnTo>
                    <a:pt x="758" y="804"/>
                  </a:lnTo>
                  <a:lnTo>
                    <a:pt x="775" y="723"/>
                  </a:lnTo>
                  <a:lnTo>
                    <a:pt x="790" y="642"/>
                  </a:lnTo>
                  <a:lnTo>
                    <a:pt x="798" y="561"/>
                  </a:lnTo>
                  <a:lnTo>
                    <a:pt x="801" y="478"/>
                  </a:lnTo>
                  <a:lnTo>
                    <a:pt x="798" y="395"/>
                  </a:lnTo>
                  <a:lnTo>
                    <a:pt x="789" y="314"/>
                  </a:lnTo>
                  <a:lnTo>
                    <a:pt x="775" y="233"/>
                  </a:lnTo>
                  <a:lnTo>
                    <a:pt x="756" y="153"/>
                  </a:lnTo>
                  <a:lnTo>
                    <a:pt x="730" y="75"/>
                  </a:lnTo>
                  <a:lnTo>
                    <a:pt x="701" y="0"/>
                  </a:lnTo>
                  <a:lnTo>
                    <a:pt x="545" y="296"/>
                  </a:lnTo>
                  <a:lnTo>
                    <a:pt x="208" y="291"/>
                  </a:lnTo>
                  <a:lnTo>
                    <a:pt x="222" y="345"/>
                  </a:lnTo>
                  <a:lnTo>
                    <a:pt x="231" y="402"/>
                  </a:lnTo>
                  <a:lnTo>
                    <a:pt x="235" y="459"/>
                  </a:lnTo>
                  <a:lnTo>
                    <a:pt x="234" y="514"/>
                  </a:lnTo>
                  <a:lnTo>
                    <a:pt x="229" y="571"/>
                  </a:lnTo>
                  <a:lnTo>
                    <a:pt x="217" y="627"/>
                  </a:lnTo>
                  <a:lnTo>
                    <a:pt x="203" y="683"/>
                  </a:lnTo>
                  <a:lnTo>
                    <a:pt x="181" y="734"/>
                  </a:lnTo>
                  <a:lnTo>
                    <a:pt x="0" y="628"/>
                  </a:lnTo>
                  <a:lnTo>
                    <a:pt x="263" y="1156"/>
                  </a:lnTo>
                </a:path>
              </a:pathLst>
            </a:custGeom>
            <a:solidFill>
              <a:schemeClr val="accent3"/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blackWhite">
            <a:xfrm>
              <a:off x="5221288" y="2070100"/>
              <a:ext cx="1797050" cy="1557338"/>
            </a:xfrm>
            <a:custGeom>
              <a:avLst/>
              <a:gdLst>
                <a:gd name="T0" fmla="*/ 2147483647 w 1109"/>
                <a:gd name="T1" fmla="*/ 2147483647 h 962"/>
                <a:gd name="T2" fmla="*/ 2147483647 w 1109"/>
                <a:gd name="T3" fmla="*/ 2147483647 h 962"/>
                <a:gd name="T4" fmla="*/ 2147483647 w 1109"/>
                <a:gd name="T5" fmla="*/ 2147483647 h 962"/>
                <a:gd name="T6" fmla="*/ 2147483647 w 1109"/>
                <a:gd name="T7" fmla="*/ 2147483647 h 962"/>
                <a:gd name="T8" fmla="*/ 2147483647 w 1109"/>
                <a:gd name="T9" fmla="*/ 2147483647 h 962"/>
                <a:gd name="T10" fmla="*/ 2147483647 w 1109"/>
                <a:gd name="T11" fmla="*/ 2147483647 h 962"/>
                <a:gd name="T12" fmla="*/ 2147483647 w 1109"/>
                <a:gd name="T13" fmla="*/ 2147483647 h 962"/>
                <a:gd name="T14" fmla="*/ 2147483647 w 1109"/>
                <a:gd name="T15" fmla="*/ 2147483647 h 962"/>
                <a:gd name="T16" fmla="*/ 2147483647 w 1109"/>
                <a:gd name="T17" fmla="*/ 2147483647 h 962"/>
                <a:gd name="T18" fmla="*/ 2147483647 w 1109"/>
                <a:gd name="T19" fmla="*/ 2147483647 h 962"/>
                <a:gd name="T20" fmla="*/ 2147483647 w 1109"/>
                <a:gd name="T21" fmla="*/ 2147483647 h 962"/>
                <a:gd name="T22" fmla="*/ 2147483647 w 1109"/>
                <a:gd name="T23" fmla="*/ 2147483647 h 962"/>
                <a:gd name="T24" fmla="*/ 2147483647 w 1109"/>
                <a:gd name="T25" fmla="*/ 2147483647 h 962"/>
                <a:gd name="T26" fmla="*/ 2147483647 w 1109"/>
                <a:gd name="T27" fmla="*/ 2147483647 h 962"/>
                <a:gd name="T28" fmla="*/ 2147483647 w 1109"/>
                <a:gd name="T29" fmla="*/ 2147483647 h 962"/>
                <a:gd name="T30" fmla="*/ 2147483647 w 1109"/>
                <a:gd name="T31" fmla="*/ 2147483647 h 962"/>
                <a:gd name="T32" fmla="*/ 2147483647 w 1109"/>
                <a:gd name="T33" fmla="*/ 2147483647 h 962"/>
                <a:gd name="T34" fmla="*/ 2147483647 w 1109"/>
                <a:gd name="T35" fmla="*/ 2147483647 h 962"/>
                <a:gd name="T36" fmla="*/ 2147483647 w 1109"/>
                <a:gd name="T37" fmla="*/ 2147483647 h 962"/>
                <a:gd name="T38" fmla="*/ 0 w 1109"/>
                <a:gd name="T39" fmla="*/ 0 h 962"/>
                <a:gd name="T40" fmla="*/ 2147483647 w 1109"/>
                <a:gd name="T41" fmla="*/ 2147483647 h 962"/>
                <a:gd name="T42" fmla="*/ 2147483647 w 1109"/>
                <a:gd name="T43" fmla="*/ 2147483647 h 962"/>
                <a:gd name="T44" fmla="*/ 2147483647 w 1109"/>
                <a:gd name="T45" fmla="*/ 2147483647 h 962"/>
                <a:gd name="T46" fmla="*/ 2147483647 w 1109"/>
                <a:gd name="T47" fmla="*/ 2147483647 h 962"/>
                <a:gd name="T48" fmla="*/ 2147483647 w 1109"/>
                <a:gd name="T49" fmla="*/ 2147483647 h 962"/>
                <a:gd name="T50" fmla="*/ 2147483647 w 1109"/>
                <a:gd name="T51" fmla="*/ 2147483647 h 962"/>
                <a:gd name="T52" fmla="*/ 2147483647 w 1109"/>
                <a:gd name="T53" fmla="*/ 2147483647 h 962"/>
                <a:gd name="T54" fmla="*/ 2147483647 w 1109"/>
                <a:gd name="T55" fmla="*/ 2147483647 h 962"/>
                <a:gd name="T56" fmla="*/ 2147483647 w 1109"/>
                <a:gd name="T57" fmla="*/ 2147483647 h 962"/>
                <a:gd name="T58" fmla="*/ 2147483647 w 1109"/>
                <a:gd name="T59" fmla="*/ 2147483647 h 962"/>
                <a:gd name="T60" fmla="*/ 2147483647 w 1109"/>
                <a:gd name="T61" fmla="*/ 2147483647 h 9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109"/>
                <a:gd name="T94" fmla="*/ 0 h 962"/>
                <a:gd name="T95" fmla="*/ 1109 w 1109"/>
                <a:gd name="T96" fmla="*/ 962 h 9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109" h="962">
                  <a:moveTo>
                    <a:pt x="246" y="959"/>
                  </a:moveTo>
                  <a:lnTo>
                    <a:pt x="839" y="961"/>
                  </a:lnTo>
                  <a:lnTo>
                    <a:pt x="934" y="786"/>
                  </a:lnTo>
                  <a:lnTo>
                    <a:pt x="1023" y="611"/>
                  </a:lnTo>
                  <a:lnTo>
                    <a:pt x="1108" y="429"/>
                  </a:lnTo>
                  <a:lnTo>
                    <a:pt x="930" y="539"/>
                  </a:lnTo>
                  <a:lnTo>
                    <a:pt x="885" y="471"/>
                  </a:lnTo>
                  <a:lnTo>
                    <a:pt x="837" y="406"/>
                  </a:lnTo>
                  <a:lnTo>
                    <a:pt x="783" y="344"/>
                  </a:lnTo>
                  <a:lnTo>
                    <a:pt x="724" y="287"/>
                  </a:lnTo>
                  <a:lnTo>
                    <a:pt x="663" y="235"/>
                  </a:lnTo>
                  <a:lnTo>
                    <a:pt x="598" y="188"/>
                  </a:lnTo>
                  <a:lnTo>
                    <a:pt x="530" y="145"/>
                  </a:lnTo>
                  <a:lnTo>
                    <a:pt x="460" y="107"/>
                  </a:lnTo>
                  <a:lnTo>
                    <a:pt x="387" y="75"/>
                  </a:lnTo>
                  <a:lnTo>
                    <a:pt x="311" y="48"/>
                  </a:lnTo>
                  <a:lnTo>
                    <a:pt x="236" y="27"/>
                  </a:lnTo>
                  <a:lnTo>
                    <a:pt x="158" y="12"/>
                  </a:lnTo>
                  <a:lnTo>
                    <a:pt x="79" y="2"/>
                  </a:lnTo>
                  <a:lnTo>
                    <a:pt x="0" y="0"/>
                  </a:lnTo>
                  <a:lnTo>
                    <a:pt x="210" y="277"/>
                  </a:lnTo>
                  <a:lnTo>
                    <a:pt x="80" y="601"/>
                  </a:lnTo>
                  <a:lnTo>
                    <a:pt x="134" y="614"/>
                  </a:lnTo>
                  <a:lnTo>
                    <a:pt x="186" y="631"/>
                  </a:lnTo>
                  <a:lnTo>
                    <a:pt x="236" y="654"/>
                  </a:lnTo>
                  <a:lnTo>
                    <a:pt x="283" y="681"/>
                  </a:lnTo>
                  <a:lnTo>
                    <a:pt x="328" y="715"/>
                  </a:lnTo>
                  <a:lnTo>
                    <a:pt x="370" y="752"/>
                  </a:lnTo>
                  <a:lnTo>
                    <a:pt x="408" y="792"/>
                  </a:lnTo>
                  <a:lnTo>
                    <a:pt x="446" y="837"/>
                  </a:lnTo>
                  <a:lnTo>
                    <a:pt x="246" y="959"/>
                  </a:lnTo>
                </a:path>
              </a:pathLst>
            </a:custGeom>
            <a:solidFill>
              <a:schemeClr val="accent3">
                <a:lumMod val="75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/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blackWhite">
            <a:xfrm>
              <a:off x="1905000" y="1773238"/>
              <a:ext cx="3573463" cy="1779587"/>
            </a:xfrm>
            <a:custGeom>
              <a:avLst/>
              <a:gdLst>
                <a:gd name="T0" fmla="*/ 0 w 2206"/>
                <a:gd name="T1" fmla="*/ 2147483647 h 1099"/>
                <a:gd name="T2" fmla="*/ 2147483647 w 2206"/>
                <a:gd name="T3" fmla="*/ 2147483647 h 1099"/>
                <a:gd name="T4" fmla="*/ 2147483647 w 2206"/>
                <a:gd name="T5" fmla="*/ 2147483647 h 1099"/>
                <a:gd name="T6" fmla="*/ 2147483647 w 2206"/>
                <a:gd name="T7" fmla="*/ 2147483647 h 1099"/>
                <a:gd name="T8" fmla="*/ 2147483647 w 2206"/>
                <a:gd name="T9" fmla="*/ 2147483647 h 1099"/>
                <a:gd name="T10" fmla="*/ 2147483647 w 2206"/>
                <a:gd name="T11" fmla="*/ 2147483647 h 1099"/>
                <a:gd name="T12" fmla="*/ 2147483647 w 2206"/>
                <a:gd name="T13" fmla="*/ 2147483647 h 1099"/>
                <a:gd name="T14" fmla="*/ 2147483647 w 2206"/>
                <a:gd name="T15" fmla="*/ 2147483647 h 1099"/>
                <a:gd name="T16" fmla="*/ 2147483647 w 2206"/>
                <a:gd name="T17" fmla="*/ 2147483647 h 1099"/>
                <a:gd name="T18" fmla="*/ 2147483647 w 2206"/>
                <a:gd name="T19" fmla="*/ 2147483647 h 1099"/>
                <a:gd name="T20" fmla="*/ 2147483647 w 2206"/>
                <a:gd name="T21" fmla="*/ 2147483647 h 1099"/>
                <a:gd name="T22" fmla="*/ 2147483647 w 2206"/>
                <a:gd name="T23" fmla="*/ 2147483647 h 1099"/>
                <a:gd name="T24" fmla="*/ 2147483647 w 2206"/>
                <a:gd name="T25" fmla="*/ 2147483647 h 1099"/>
                <a:gd name="T26" fmla="*/ 2147483647 w 2206"/>
                <a:gd name="T27" fmla="*/ 2147483647 h 1099"/>
                <a:gd name="T28" fmla="*/ 2147483647 w 2206"/>
                <a:gd name="T29" fmla="*/ 0 h 1099"/>
                <a:gd name="T30" fmla="*/ 2147483647 w 2206"/>
                <a:gd name="T31" fmla="*/ 2147483647 h 1099"/>
                <a:gd name="T32" fmla="*/ 0 w 2206"/>
                <a:gd name="T33" fmla="*/ 2147483647 h 1099"/>
                <a:gd name="T34" fmla="*/ 0 w 2206"/>
                <a:gd name="T35" fmla="*/ 2147483647 h 109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206"/>
                <a:gd name="T55" fmla="*/ 0 h 1099"/>
                <a:gd name="T56" fmla="*/ 2206 w 2206"/>
                <a:gd name="T57" fmla="*/ 1099 h 109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206" h="1099">
                  <a:moveTo>
                    <a:pt x="0" y="864"/>
                  </a:moveTo>
                  <a:lnTo>
                    <a:pt x="1339" y="864"/>
                  </a:lnTo>
                  <a:lnTo>
                    <a:pt x="1552" y="1098"/>
                  </a:lnTo>
                  <a:lnTo>
                    <a:pt x="1587" y="1045"/>
                  </a:lnTo>
                  <a:lnTo>
                    <a:pt x="1625" y="996"/>
                  </a:lnTo>
                  <a:lnTo>
                    <a:pt x="1666" y="948"/>
                  </a:lnTo>
                  <a:lnTo>
                    <a:pt x="1711" y="906"/>
                  </a:lnTo>
                  <a:lnTo>
                    <a:pt x="1754" y="872"/>
                  </a:lnTo>
                  <a:lnTo>
                    <a:pt x="1800" y="845"/>
                  </a:lnTo>
                  <a:lnTo>
                    <a:pt x="1850" y="822"/>
                  </a:lnTo>
                  <a:lnTo>
                    <a:pt x="1900" y="803"/>
                  </a:lnTo>
                  <a:lnTo>
                    <a:pt x="1953" y="790"/>
                  </a:lnTo>
                  <a:lnTo>
                    <a:pt x="1983" y="1013"/>
                  </a:lnTo>
                  <a:lnTo>
                    <a:pt x="2205" y="471"/>
                  </a:lnTo>
                  <a:lnTo>
                    <a:pt x="1872" y="0"/>
                  </a:lnTo>
                  <a:lnTo>
                    <a:pt x="1873" y="196"/>
                  </a:lnTo>
                  <a:lnTo>
                    <a:pt x="0" y="196"/>
                  </a:lnTo>
                  <a:lnTo>
                    <a:pt x="0" y="864"/>
                  </a:lnTo>
                </a:path>
              </a:pathLst>
            </a:custGeom>
            <a:solidFill>
              <a:schemeClr val="accent3">
                <a:lumMod val="5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/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blackWhite">
            <a:xfrm>
              <a:off x="4867275" y="4592638"/>
              <a:ext cx="1806575" cy="1716087"/>
            </a:xfrm>
            <a:custGeom>
              <a:avLst/>
              <a:gdLst>
                <a:gd name="T0" fmla="*/ 0 w 1115"/>
                <a:gd name="T1" fmla="*/ 857233 h 1059"/>
                <a:gd name="T2" fmla="*/ 489786 w 1115"/>
                <a:gd name="T3" fmla="*/ 1714467 h 1059"/>
                <a:gd name="T4" fmla="*/ 489786 w 1115"/>
                <a:gd name="T5" fmla="*/ 1320690 h 1059"/>
                <a:gd name="T6" fmla="*/ 619693 w 1115"/>
                <a:gd name="T7" fmla="*/ 1309347 h 1059"/>
                <a:gd name="T8" fmla="*/ 753111 w 1115"/>
                <a:gd name="T9" fmla="*/ 1288280 h 1059"/>
                <a:gd name="T10" fmla="*/ 881263 w 1115"/>
                <a:gd name="T11" fmla="*/ 1259112 h 1059"/>
                <a:gd name="T12" fmla="*/ 1005904 w 1115"/>
                <a:gd name="T13" fmla="*/ 1221841 h 1059"/>
                <a:gd name="T14" fmla="*/ 1128789 w 1115"/>
                <a:gd name="T15" fmla="*/ 1176467 h 1059"/>
                <a:gd name="T16" fmla="*/ 1249919 w 1115"/>
                <a:gd name="T17" fmla="*/ 1122992 h 1059"/>
                <a:gd name="T18" fmla="*/ 1365782 w 1115"/>
                <a:gd name="T19" fmla="*/ 1061413 h 1059"/>
                <a:gd name="T20" fmla="*/ 1479890 w 1115"/>
                <a:gd name="T21" fmla="*/ 993353 h 1059"/>
                <a:gd name="T22" fmla="*/ 1581709 w 1115"/>
                <a:gd name="T23" fmla="*/ 913950 h 1059"/>
                <a:gd name="T24" fmla="*/ 1687039 w 1115"/>
                <a:gd name="T25" fmla="*/ 831306 h 1059"/>
                <a:gd name="T26" fmla="*/ 1781836 w 1115"/>
                <a:gd name="T27" fmla="*/ 738938 h 1059"/>
                <a:gd name="T28" fmla="*/ 1874878 w 1115"/>
                <a:gd name="T29" fmla="*/ 640089 h 1059"/>
                <a:gd name="T30" fmla="*/ 1955631 w 1115"/>
                <a:gd name="T31" fmla="*/ 539619 h 1059"/>
                <a:gd name="T32" fmla="*/ 1362271 w 1115"/>
                <a:gd name="T33" fmla="*/ 570408 h 1059"/>
                <a:gd name="T34" fmla="*/ 1093679 w 1115"/>
                <a:gd name="T35" fmla="*/ 58337 h 1059"/>
                <a:gd name="T36" fmla="*/ 1037503 w 1115"/>
                <a:gd name="T37" fmla="*/ 111813 h 1059"/>
                <a:gd name="T38" fmla="*/ 977816 w 1115"/>
                <a:gd name="T39" fmla="*/ 158807 h 1059"/>
                <a:gd name="T40" fmla="*/ 905840 w 1115"/>
                <a:gd name="T41" fmla="*/ 207421 h 1059"/>
                <a:gd name="T42" fmla="*/ 828598 w 1115"/>
                <a:gd name="T43" fmla="*/ 254415 h 1059"/>
                <a:gd name="T44" fmla="*/ 746089 w 1115"/>
                <a:gd name="T45" fmla="*/ 288445 h 1059"/>
                <a:gd name="T46" fmla="*/ 665336 w 1115"/>
                <a:gd name="T47" fmla="*/ 319234 h 1059"/>
                <a:gd name="T48" fmla="*/ 579316 w 1115"/>
                <a:gd name="T49" fmla="*/ 341921 h 1059"/>
                <a:gd name="T50" fmla="*/ 489786 w 1115"/>
                <a:gd name="T51" fmla="*/ 356505 h 1059"/>
                <a:gd name="T52" fmla="*/ 489786 w 1115"/>
                <a:gd name="T53" fmla="*/ 0 h 1059"/>
                <a:gd name="T54" fmla="*/ 0 w 1115"/>
                <a:gd name="T55" fmla="*/ 857233 h 1059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115"/>
                <a:gd name="T85" fmla="*/ 0 h 1059"/>
                <a:gd name="T86" fmla="*/ 1115 w 1115"/>
                <a:gd name="T87" fmla="*/ 1059 h 1059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115" h="1059">
                  <a:moveTo>
                    <a:pt x="0" y="529"/>
                  </a:moveTo>
                  <a:lnTo>
                    <a:pt x="279" y="1058"/>
                  </a:lnTo>
                  <a:lnTo>
                    <a:pt x="279" y="815"/>
                  </a:lnTo>
                  <a:lnTo>
                    <a:pt x="353" y="808"/>
                  </a:lnTo>
                  <a:lnTo>
                    <a:pt x="429" y="795"/>
                  </a:lnTo>
                  <a:lnTo>
                    <a:pt x="502" y="777"/>
                  </a:lnTo>
                  <a:lnTo>
                    <a:pt x="573" y="754"/>
                  </a:lnTo>
                  <a:lnTo>
                    <a:pt x="643" y="726"/>
                  </a:lnTo>
                  <a:lnTo>
                    <a:pt x="712" y="693"/>
                  </a:lnTo>
                  <a:lnTo>
                    <a:pt x="778" y="655"/>
                  </a:lnTo>
                  <a:lnTo>
                    <a:pt x="843" y="613"/>
                  </a:lnTo>
                  <a:lnTo>
                    <a:pt x="901" y="564"/>
                  </a:lnTo>
                  <a:lnTo>
                    <a:pt x="961" y="513"/>
                  </a:lnTo>
                  <a:lnTo>
                    <a:pt x="1015" y="456"/>
                  </a:lnTo>
                  <a:lnTo>
                    <a:pt x="1068" y="395"/>
                  </a:lnTo>
                  <a:lnTo>
                    <a:pt x="1114" y="333"/>
                  </a:lnTo>
                  <a:lnTo>
                    <a:pt x="776" y="352"/>
                  </a:lnTo>
                  <a:lnTo>
                    <a:pt x="623" y="36"/>
                  </a:lnTo>
                  <a:lnTo>
                    <a:pt x="591" y="69"/>
                  </a:lnTo>
                  <a:lnTo>
                    <a:pt x="557" y="98"/>
                  </a:lnTo>
                  <a:lnTo>
                    <a:pt x="516" y="128"/>
                  </a:lnTo>
                  <a:lnTo>
                    <a:pt x="472" y="157"/>
                  </a:lnTo>
                  <a:lnTo>
                    <a:pt x="425" y="178"/>
                  </a:lnTo>
                  <a:lnTo>
                    <a:pt x="379" y="197"/>
                  </a:lnTo>
                  <a:lnTo>
                    <a:pt x="330" y="211"/>
                  </a:lnTo>
                  <a:lnTo>
                    <a:pt x="279" y="220"/>
                  </a:lnTo>
                  <a:lnTo>
                    <a:pt x="279" y="0"/>
                  </a:lnTo>
                  <a:lnTo>
                    <a:pt x="0" y="529"/>
                  </a:ln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blackWhite">
            <a:xfrm>
              <a:off x="3294063" y="4378325"/>
              <a:ext cx="1719262" cy="1531938"/>
            </a:xfrm>
            <a:custGeom>
              <a:avLst/>
              <a:gdLst>
                <a:gd name="T0" fmla="*/ 2147483647 w 1061"/>
                <a:gd name="T1" fmla="*/ 0 h 946"/>
                <a:gd name="T2" fmla="*/ 0 w 1061"/>
                <a:gd name="T3" fmla="*/ 2147483647 h 946"/>
                <a:gd name="T4" fmla="*/ 2147483647 w 1061"/>
                <a:gd name="T5" fmla="*/ 2147483647 h 946"/>
                <a:gd name="T6" fmla="*/ 2147483647 w 1061"/>
                <a:gd name="T7" fmla="*/ 2147483647 h 946"/>
                <a:gd name="T8" fmla="*/ 2147483647 w 1061"/>
                <a:gd name="T9" fmla="*/ 2147483647 h 946"/>
                <a:gd name="T10" fmla="*/ 2147483647 w 1061"/>
                <a:gd name="T11" fmla="*/ 2147483647 h 946"/>
                <a:gd name="T12" fmla="*/ 2147483647 w 1061"/>
                <a:gd name="T13" fmla="*/ 2147483647 h 946"/>
                <a:gd name="T14" fmla="*/ 2147483647 w 1061"/>
                <a:gd name="T15" fmla="*/ 2147483647 h 946"/>
                <a:gd name="T16" fmla="*/ 2147483647 w 1061"/>
                <a:gd name="T17" fmla="*/ 2147483647 h 946"/>
                <a:gd name="T18" fmla="*/ 2147483647 w 1061"/>
                <a:gd name="T19" fmla="*/ 2147483647 h 946"/>
                <a:gd name="T20" fmla="*/ 2147483647 w 1061"/>
                <a:gd name="T21" fmla="*/ 2147483647 h 946"/>
                <a:gd name="T22" fmla="*/ 2147483647 w 1061"/>
                <a:gd name="T23" fmla="*/ 2147483647 h 946"/>
                <a:gd name="T24" fmla="*/ 2147483647 w 1061"/>
                <a:gd name="T25" fmla="*/ 2147483647 h 946"/>
                <a:gd name="T26" fmla="*/ 2147483647 w 1061"/>
                <a:gd name="T27" fmla="*/ 2147483647 h 946"/>
                <a:gd name="T28" fmla="*/ 2147483647 w 1061"/>
                <a:gd name="T29" fmla="*/ 2147483647 h 946"/>
                <a:gd name="T30" fmla="*/ 2147483647 w 1061"/>
                <a:gd name="T31" fmla="*/ 2147483647 h 946"/>
                <a:gd name="T32" fmla="*/ 2147483647 w 1061"/>
                <a:gd name="T33" fmla="*/ 2147483647 h 946"/>
                <a:gd name="T34" fmla="*/ 2147483647 w 1061"/>
                <a:gd name="T35" fmla="*/ 2147483647 h 946"/>
                <a:gd name="T36" fmla="*/ 2147483647 w 1061"/>
                <a:gd name="T37" fmla="*/ 2147483647 h 946"/>
                <a:gd name="T38" fmla="*/ 2147483647 w 1061"/>
                <a:gd name="T39" fmla="*/ 2147483647 h 946"/>
                <a:gd name="T40" fmla="*/ 2147483647 w 1061"/>
                <a:gd name="T41" fmla="*/ 2147483647 h 946"/>
                <a:gd name="T42" fmla="*/ 2147483647 w 1061"/>
                <a:gd name="T43" fmla="*/ 2147483647 h 946"/>
                <a:gd name="T44" fmla="*/ 2147483647 w 1061"/>
                <a:gd name="T45" fmla="*/ 2147483647 h 946"/>
                <a:gd name="T46" fmla="*/ 2147483647 w 1061"/>
                <a:gd name="T47" fmla="*/ 2147483647 h 946"/>
                <a:gd name="T48" fmla="*/ 2147483647 w 1061"/>
                <a:gd name="T49" fmla="*/ 2147483647 h 946"/>
                <a:gd name="T50" fmla="*/ 2147483647 w 1061"/>
                <a:gd name="T51" fmla="*/ 0 h 94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061"/>
                <a:gd name="T79" fmla="*/ 0 h 946"/>
                <a:gd name="T80" fmla="*/ 1061 w 1061"/>
                <a:gd name="T81" fmla="*/ 946 h 94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061" h="946">
                  <a:moveTo>
                    <a:pt x="372" y="0"/>
                  </a:moveTo>
                  <a:lnTo>
                    <a:pt x="0" y="477"/>
                  </a:lnTo>
                  <a:lnTo>
                    <a:pt x="207" y="395"/>
                  </a:lnTo>
                  <a:lnTo>
                    <a:pt x="252" y="466"/>
                  </a:lnTo>
                  <a:lnTo>
                    <a:pt x="302" y="531"/>
                  </a:lnTo>
                  <a:lnTo>
                    <a:pt x="354" y="592"/>
                  </a:lnTo>
                  <a:lnTo>
                    <a:pt x="410" y="649"/>
                  </a:lnTo>
                  <a:lnTo>
                    <a:pt x="471" y="703"/>
                  </a:lnTo>
                  <a:lnTo>
                    <a:pt x="535" y="751"/>
                  </a:lnTo>
                  <a:lnTo>
                    <a:pt x="602" y="795"/>
                  </a:lnTo>
                  <a:lnTo>
                    <a:pt x="670" y="833"/>
                  </a:lnTo>
                  <a:lnTo>
                    <a:pt x="745" y="867"/>
                  </a:lnTo>
                  <a:lnTo>
                    <a:pt x="818" y="894"/>
                  </a:lnTo>
                  <a:lnTo>
                    <a:pt x="894" y="917"/>
                  </a:lnTo>
                  <a:lnTo>
                    <a:pt x="970" y="934"/>
                  </a:lnTo>
                  <a:lnTo>
                    <a:pt x="1048" y="945"/>
                  </a:lnTo>
                  <a:lnTo>
                    <a:pt x="896" y="669"/>
                  </a:lnTo>
                  <a:lnTo>
                    <a:pt x="1060" y="347"/>
                  </a:lnTo>
                  <a:lnTo>
                    <a:pt x="1004" y="334"/>
                  </a:lnTo>
                  <a:lnTo>
                    <a:pt x="951" y="315"/>
                  </a:lnTo>
                  <a:lnTo>
                    <a:pt x="898" y="290"/>
                  </a:lnTo>
                  <a:lnTo>
                    <a:pt x="850" y="260"/>
                  </a:lnTo>
                  <a:lnTo>
                    <a:pt x="802" y="223"/>
                  </a:lnTo>
                  <a:lnTo>
                    <a:pt x="761" y="184"/>
                  </a:lnTo>
                  <a:lnTo>
                    <a:pt x="938" y="113"/>
                  </a:lnTo>
                  <a:lnTo>
                    <a:pt x="372" y="0"/>
                  </a:lnTo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blackWhite">
            <a:xfrm>
              <a:off x="3134390" y="3065463"/>
              <a:ext cx="1531273" cy="1709737"/>
            </a:xfrm>
            <a:custGeom>
              <a:avLst/>
              <a:gdLst>
                <a:gd name="T0" fmla="*/ 2147483647 w 866"/>
                <a:gd name="T1" fmla="*/ 0 h 1055"/>
                <a:gd name="T2" fmla="*/ 0 w 866"/>
                <a:gd name="T3" fmla="*/ 2147483647 h 1055"/>
                <a:gd name="T4" fmla="*/ 2147483647 w 866"/>
                <a:gd name="T5" fmla="*/ 2147483647 h 1055"/>
                <a:gd name="T6" fmla="*/ 2147483647 w 866"/>
                <a:gd name="T7" fmla="*/ 2147483647 h 1055"/>
                <a:gd name="T8" fmla="*/ 2147483647 w 866"/>
                <a:gd name="T9" fmla="*/ 2147483647 h 1055"/>
                <a:gd name="T10" fmla="*/ 2147483647 w 866"/>
                <a:gd name="T11" fmla="*/ 2147483647 h 1055"/>
                <a:gd name="T12" fmla="*/ 2147483647 w 866"/>
                <a:gd name="T13" fmla="*/ 2147483647 h 1055"/>
                <a:gd name="T14" fmla="*/ 2147483647 w 866"/>
                <a:gd name="T15" fmla="*/ 2147483647 h 1055"/>
                <a:gd name="T16" fmla="*/ 2147483647 w 866"/>
                <a:gd name="T17" fmla="*/ 2147483647 h 1055"/>
                <a:gd name="T18" fmla="*/ 2147483647 w 866"/>
                <a:gd name="T19" fmla="*/ 2147483647 h 1055"/>
                <a:gd name="T20" fmla="*/ 2147483647 w 866"/>
                <a:gd name="T21" fmla="*/ 2147483647 h 1055"/>
                <a:gd name="T22" fmla="*/ 2147483647 w 866"/>
                <a:gd name="T23" fmla="*/ 2147483647 h 1055"/>
                <a:gd name="T24" fmla="*/ 2147483647 w 866"/>
                <a:gd name="T25" fmla="*/ 2147483647 h 1055"/>
                <a:gd name="T26" fmla="*/ 2147483647 w 866"/>
                <a:gd name="T27" fmla="*/ 2147483647 h 1055"/>
                <a:gd name="T28" fmla="*/ 2147483647 w 866"/>
                <a:gd name="T29" fmla="*/ 2147483647 h 1055"/>
                <a:gd name="T30" fmla="*/ 2147483647 w 866"/>
                <a:gd name="T31" fmla="*/ 2147483647 h 1055"/>
                <a:gd name="T32" fmla="*/ 2147483647 w 866"/>
                <a:gd name="T33" fmla="*/ 2147483647 h 1055"/>
                <a:gd name="T34" fmla="*/ 2147483647 w 866"/>
                <a:gd name="T35" fmla="*/ 2147483647 h 1055"/>
                <a:gd name="T36" fmla="*/ 2147483647 w 866"/>
                <a:gd name="T37" fmla="*/ 2147483647 h 1055"/>
                <a:gd name="T38" fmla="*/ 2147483647 w 866"/>
                <a:gd name="T39" fmla="*/ 2147483647 h 1055"/>
                <a:gd name="T40" fmla="*/ 2147483647 w 866"/>
                <a:gd name="T41" fmla="*/ 2147483647 h 1055"/>
                <a:gd name="T42" fmla="*/ 2147483647 w 866"/>
                <a:gd name="T43" fmla="*/ 2147483647 h 1055"/>
                <a:gd name="T44" fmla="*/ 2147483647 w 866"/>
                <a:gd name="T45" fmla="*/ 2147483647 h 1055"/>
                <a:gd name="T46" fmla="*/ 2147483647 w 866"/>
                <a:gd name="T47" fmla="*/ 2147483647 h 1055"/>
                <a:gd name="T48" fmla="*/ 2147483647 w 866"/>
                <a:gd name="T49" fmla="*/ 2147483647 h 1055"/>
                <a:gd name="T50" fmla="*/ 2147483647 w 866"/>
                <a:gd name="T51" fmla="*/ 0 h 105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866"/>
                <a:gd name="T79" fmla="*/ 0 h 1055"/>
                <a:gd name="T80" fmla="*/ 866 w 866"/>
                <a:gd name="T81" fmla="*/ 1055 h 1055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866" h="1055">
                  <a:moveTo>
                    <a:pt x="571" y="0"/>
                  </a:moveTo>
                  <a:lnTo>
                    <a:pt x="0" y="1"/>
                  </a:lnTo>
                  <a:lnTo>
                    <a:pt x="178" y="111"/>
                  </a:lnTo>
                  <a:lnTo>
                    <a:pt x="153" y="187"/>
                  </a:lnTo>
                  <a:lnTo>
                    <a:pt x="130" y="264"/>
                  </a:lnTo>
                  <a:lnTo>
                    <a:pt x="113" y="343"/>
                  </a:lnTo>
                  <a:lnTo>
                    <a:pt x="100" y="423"/>
                  </a:lnTo>
                  <a:lnTo>
                    <a:pt x="94" y="504"/>
                  </a:lnTo>
                  <a:lnTo>
                    <a:pt x="93" y="583"/>
                  </a:lnTo>
                  <a:lnTo>
                    <a:pt x="95" y="664"/>
                  </a:lnTo>
                  <a:lnTo>
                    <a:pt x="104" y="744"/>
                  </a:lnTo>
                  <a:lnTo>
                    <a:pt x="118" y="824"/>
                  </a:lnTo>
                  <a:lnTo>
                    <a:pt x="136" y="903"/>
                  </a:lnTo>
                  <a:lnTo>
                    <a:pt x="159" y="979"/>
                  </a:lnTo>
                  <a:lnTo>
                    <a:pt x="189" y="1054"/>
                  </a:lnTo>
                  <a:lnTo>
                    <a:pt x="412" y="766"/>
                  </a:lnTo>
                  <a:lnTo>
                    <a:pt x="702" y="816"/>
                  </a:lnTo>
                  <a:lnTo>
                    <a:pt x="681" y="760"/>
                  </a:lnTo>
                  <a:lnTo>
                    <a:pt x="666" y="705"/>
                  </a:lnTo>
                  <a:lnTo>
                    <a:pt x="658" y="647"/>
                  </a:lnTo>
                  <a:lnTo>
                    <a:pt x="652" y="588"/>
                  </a:lnTo>
                  <a:lnTo>
                    <a:pt x="652" y="529"/>
                  </a:lnTo>
                  <a:lnTo>
                    <a:pt x="660" y="470"/>
                  </a:lnTo>
                  <a:lnTo>
                    <a:pt x="672" y="413"/>
                  </a:lnTo>
                  <a:lnTo>
                    <a:pt x="865" y="531"/>
                  </a:lnTo>
                  <a:lnTo>
                    <a:pt x="571" y="0"/>
                  </a:lnTo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41" name="Rectangle 40"/>
            <p:cNvSpPr>
              <a:spLocks noChangeArrowheads="1"/>
            </p:cNvSpPr>
            <p:nvPr/>
          </p:nvSpPr>
          <p:spPr bwMode="blackWhite">
            <a:xfrm>
              <a:off x="2898547" y="2538471"/>
              <a:ext cx="1413336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. White</a:t>
              </a:r>
              <a:r>
                <a:rPr lang="en-US" sz="1400" baseline="0">
                  <a:solidFill>
                    <a:schemeClr val="bg1"/>
                  </a:solidFill>
                </a:rPr>
                <a:t>. 14PT</a:t>
              </a: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42" name="Rectangle 41"/>
            <p:cNvSpPr>
              <a:spLocks noChangeArrowheads="1"/>
            </p:cNvSpPr>
            <p:nvPr/>
          </p:nvSpPr>
          <p:spPr bwMode="blackWhite">
            <a:xfrm>
              <a:off x="5890738" y="2805171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3" name="Rectangle 42"/>
            <p:cNvSpPr>
              <a:spLocks noChangeArrowheads="1"/>
            </p:cNvSpPr>
            <p:nvPr/>
          </p:nvSpPr>
          <p:spPr bwMode="blackWhite">
            <a:xfrm>
              <a:off x="6370162" y="4146609"/>
              <a:ext cx="327975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4" name="Rectangle 43"/>
            <p:cNvSpPr>
              <a:spLocks noChangeArrowheads="1"/>
            </p:cNvSpPr>
            <p:nvPr/>
          </p:nvSpPr>
          <p:spPr bwMode="blackWhite">
            <a:xfrm>
              <a:off x="5501800" y="5259446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5" name="Rectangle 44"/>
            <p:cNvSpPr>
              <a:spLocks noChangeArrowheads="1"/>
            </p:cNvSpPr>
            <p:nvPr/>
          </p:nvSpPr>
          <p:spPr bwMode="blackWhite">
            <a:xfrm>
              <a:off x="4166713" y="4962584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6" name="Rectangle 45"/>
            <p:cNvSpPr>
              <a:spLocks noChangeArrowheads="1"/>
            </p:cNvSpPr>
            <p:nvPr/>
          </p:nvSpPr>
          <p:spPr bwMode="blackWhite">
            <a:xfrm>
              <a:off x="3627624" y="3692584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</p:grpSp>
      <p:sp>
        <p:nvSpPr>
          <p:cNvPr id="47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48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5116786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Slide designed to be used when you only have a small intro paragraph and bullet points. 18PT</a:t>
            </a:r>
          </a:p>
        </p:txBody>
      </p:sp>
      <p:sp>
        <p:nvSpPr>
          <p:cNvPr id="55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5116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465775376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. Strategy Slide - Process Closed Loop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2355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7061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PROCESS CLOSED LOOP WITH LARGE TEXT</a:t>
            </a:r>
          </a:p>
        </p:txBody>
      </p:sp>
      <p:sp>
        <p:nvSpPr>
          <p:cNvPr id="47" name="Arc 3"/>
          <p:cNvSpPr>
            <a:spLocks/>
          </p:cNvSpPr>
          <p:nvPr userDrawn="1"/>
        </p:nvSpPr>
        <p:spPr bwMode="auto">
          <a:xfrm>
            <a:off x="8555775" y="1924512"/>
            <a:ext cx="2043112" cy="1801812"/>
          </a:xfrm>
          <a:custGeom>
            <a:avLst/>
            <a:gdLst>
              <a:gd name="T0" fmla="*/ 0 w 19173"/>
              <a:gd name="T1" fmla="*/ 0 h 21600"/>
              <a:gd name="T2" fmla="*/ 2147483647 w 19173"/>
              <a:gd name="T3" fmla="*/ 2147483647 h 21600"/>
              <a:gd name="T4" fmla="*/ 0 w 19173"/>
              <a:gd name="T5" fmla="*/ 2147483647 h 21600"/>
              <a:gd name="T6" fmla="*/ 0 60000 65536"/>
              <a:gd name="T7" fmla="*/ 0 60000 65536"/>
              <a:gd name="T8" fmla="*/ 0 60000 65536"/>
              <a:gd name="T9" fmla="*/ 0 w 19173"/>
              <a:gd name="T10" fmla="*/ 0 h 21600"/>
              <a:gd name="T11" fmla="*/ 19173 w 19173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173" h="21600" fill="none" extrusionOk="0">
                <a:moveTo>
                  <a:pt x="-1" y="0"/>
                </a:moveTo>
                <a:cubicBezTo>
                  <a:pt x="8064" y="0"/>
                  <a:pt x="15457" y="4492"/>
                  <a:pt x="19172" y="11651"/>
                </a:cubicBezTo>
              </a:path>
              <a:path w="19173" h="21600" stroke="0" extrusionOk="0">
                <a:moveTo>
                  <a:pt x="-1" y="0"/>
                </a:moveTo>
                <a:cubicBezTo>
                  <a:pt x="8064" y="0"/>
                  <a:pt x="15457" y="4492"/>
                  <a:pt x="19172" y="11651"/>
                </a:cubicBezTo>
                <a:lnTo>
                  <a:pt x="0" y="21600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48" name="Arc 4"/>
          <p:cNvSpPr>
            <a:spLocks/>
          </p:cNvSpPr>
          <p:nvPr userDrawn="1"/>
        </p:nvSpPr>
        <p:spPr bwMode="auto">
          <a:xfrm flipV="1">
            <a:off x="8555775" y="3803958"/>
            <a:ext cx="2301875" cy="969963"/>
          </a:xfrm>
          <a:custGeom>
            <a:avLst/>
            <a:gdLst>
              <a:gd name="T0" fmla="*/ 2147483647 w 21600"/>
              <a:gd name="T1" fmla="*/ 0 h 11619"/>
              <a:gd name="T2" fmla="*/ 2147483647 w 21600"/>
              <a:gd name="T3" fmla="*/ 2147483647 h 11619"/>
              <a:gd name="T4" fmla="*/ 0 w 21600"/>
              <a:gd name="T5" fmla="*/ 2147483647 h 11619"/>
              <a:gd name="T6" fmla="*/ 0 60000 65536"/>
              <a:gd name="T7" fmla="*/ 0 60000 65536"/>
              <a:gd name="T8" fmla="*/ 0 60000 65536"/>
              <a:gd name="T9" fmla="*/ 0 w 21600"/>
              <a:gd name="T10" fmla="*/ 0 h 11619"/>
              <a:gd name="T11" fmla="*/ 21600 w 21600"/>
              <a:gd name="T12" fmla="*/ 11619 h 1161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11619" fill="none" extrusionOk="0">
                <a:moveTo>
                  <a:pt x="18208" y="0"/>
                </a:moveTo>
                <a:cubicBezTo>
                  <a:pt x="20423" y="3470"/>
                  <a:pt x="21600" y="7501"/>
                  <a:pt x="21600" y="11619"/>
                </a:cubicBezTo>
              </a:path>
              <a:path w="21600" h="11619" stroke="0" extrusionOk="0">
                <a:moveTo>
                  <a:pt x="18208" y="0"/>
                </a:moveTo>
                <a:cubicBezTo>
                  <a:pt x="20423" y="3470"/>
                  <a:pt x="21600" y="7501"/>
                  <a:pt x="21600" y="11619"/>
                </a:cubicBezTo>
                <a:lnTo>
                  <a:pt x="0" y="11619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rot="10800000"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49" name="Arc 5"/>
          <p:cNvSpPr>
            <a:spLocks/>
          </p:cNvSpPr>
          <p:nvPr userDrawn="1"/>
        </p:nvSpPr>
        <p:spPr bwMode="auto">
          <a:xfrm rot="183362" flipV="1">
            <a:off x="8248650" y="3884613"/>
            <a:ext cx="1851025" cy="1801813"/>
          </a:xfrm>
          <a:custGeom>
            <a:avLst/>
            <a:gdLst>
              <a:gd name="T0" fmla="*/ 0 w 17368"/>
              <a:gd name="T1" fmla="*/ 2147483647 h 21600"/>
              <a:gd name="T2" fmla="*/ 2147483647 w 17368"/>
              <a:gd name="T3" fmla="*/ 2147483647 h 21600"/>
              <a:gd name="T4" fmla="*/ 2147483647 w 17368"/>
              <a:gd name="T5" fmla="*/ 2147483647 h 21600"/>
              <a:gd name="T6" fmla="*/ 0 60000 65536"/>
              <a:gd name="T7" fmla="*/ 0 60000 65536"/>
              <a:gd name="T8" fmla="*/ 0 60000 65536"/>
              <a:gd name="T9" fmla="*/ 0 w 17368"/>
              <a:gd name="T10" fmla="*/ 0 h 21600"/>
              <a:gd name="T11" fmla="*/ 17368 w 17368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7368" h="21600" fill="none" extrusionOk="0">
                <a:moveTo>
                  <a:pt x="0" y="189"/>
                </a:moveTo>
                <a:cubicBezTo>
                  <a:pt x="945" y="63"/>
                  <a:pt x="1898" y="-1"/>
                  <a:pt x="2852" y="0"/>
                </a:cubicBezTo>
                <a:cubicBezTo>
                  <a:pt x="8218" y="0"/>
                  <a:pt x="13393" y="1998"/>
                  <a:pt x="17368" y="5604"/>
                </a:cubicBezTo>
              </a:path>
              <a:path w="17368" h="21600" stroke="0" extrusionOk="0">
                <a:moveTo>
                  <a:pt x="0" y="189"/>
                </a:moveTo>
                <a:cubicBezTo>
                  <a:pt x="945" y="63"/>
                  <a:pt x="1898" y="-1"/>
                  <a:pt x="2852" y="0"/>
                </a:cubicBezTo>
                <a:cubicBezTo>
                  <a:pt x="8218" y="0"/>
                  <a:pt x="13393" y="1998"/>
                  <a:pt x="17368" y="5604"/>
                </a:cubicBezTo>
                <a:lnTo>
                  <a:pt x="2852" y="21600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rot="10800000"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54" name="Arc 6"/>
          <p:cNvSpPr>
            <a:spLocks/>
          </p:cNvSpPr>
          <p:nvPr userDrawn="1"/>
        </p:nvSpPr>
        <p:spPr bwMode="auto">
          <a:xfrm flipH="1" flipV="1">
            <a:off x="6312637" y="3726324"/>
            <a:ext cx="2244725" cy="1592263"/>
          </a:xfrm>
          <a:custGeom>
            <a:avLst/>
            <a:gdLst>
              <a:gd name="T0" fmla="*/ 2147483647 w 21027"/>
              <a:gd name="T1" fmla="*/ 0 h 19082"/>
              <a:gd name="T2" fmla="*/ 2147483647 w 21027"/>
              <a:gd name="T3" fmla="*/ 2147483647 h 19082"/>
              <a:gd name="T4" fmla="*/ 0 w 21027"/>
              <a:gd name="T5" fmla="*/ 2147483647 h 19082"/>
              <a:gd name="T6" fmla="*/ 0 60000 65536"/>
              <a:gd name="T7" fmla="*/ 0 60000 65536"/>
              <a:gd name="T8" fmla="*/ 0 60000 65536"/>
              <a:gd name="T9" fmla="*/ 0 w 21027"/>
              <a:gd name="T10" fmla="*/ 0 h 19082"/>
              <a:gd name="T11" fmla="*/ 21027 w 21027"/>
              <a:gd name="T12" fmla="*/ 19082 h 1908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027" h="19082" fill="none" extrusionOk="0">
                <a:moveTo>
                  <a:pt x="10121" y="0"/>
                </a:moveTo>
                <a:cubicBezTo>
                  <a:pt x="15625" y="2919"/>
                  <a:pt x="19601" y="8073"/>
                  <a:pt x="21026" y="14139"/>
                </a:cubicBezTo>
              </a:path>
              <a:path w="21027" h="19082" stroke="0" extrusionOk="0">
                <a:moveTo>
                  <a:pt x="10121" y="0"/>
                </a:moveTo>
                <a:cubicBezTo>
                  <a:pt x="15625" y="2919"/>
                  <a:pt x="19601" y="8073"/>
                  <a:pt x="21026" y="14139"/>
                </a:cubicBezTo>
                <a:lnTo>
                  <a:pt x="0" y="19082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 rot="10800000"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55" name="Arc 7"/>
          <p:cNvSpPr>
            <a:spLocks/>
          </p:cNvSpPr>
          <p:nvPr userDrawn="1"/>
        </p:nvSpPr>
        <p:spPr bwMode="auto">
          <a:xfrm flipH="1">
            <a:off x="6279300" y="2067387"/>
            <a:ext cx="2278062" cy="1658937"/>
          </a:xfrm>
          <a:custGeom>
            <a:avLst/>
            <a:gdLst>
              <a:gd name="T0" fmla="*/ 2147483647 w 21347"/>
              <a:gd name="T1" fmla="*/ 0 h 19905"/>
              <a:gd name="T2" fmla="*/ 2147483647 w 21347"/>
              <a:gd name="T3" fmla="*/ 2147483647 h 19905"/>
              <a:gd name="T4" fmla="*/ 0 w 21347"/>
              <a:gd name="T5" fmla="*/ 2147483647 h 19905"/>
              <a:gd name="T6" fmla="*/ 0 60000 65536"/>
              <a:gd name="T7" fmla="*/ 0 60000 65536"/>
              <a:gd name="T8" fmla="*/ 0 60000 65536"/>
              <a:gd name="T9" fmla="*/ 0 w 21347"/>
              <a:gd name="T10" fmla="*/ 0 h 19905"/>
              <a:gd name="T11" fmla="*/ 21347 w 21347"/>
              <a:gd name="T12" fmla="*/ 19905 h 1990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347" h="19905" fill="none" extrusionOk="0">
                <a:moveTo>
                  <a:pt x="8386" y="-1"/>
                </a:moveTo>
                <a:cubicBezTo>
                  <a:pt x="15295" y="2910"/>
                  <a:pt x="20201" y="9196"/>
                  <a:pt x="21346" y="16606"/>
                </a:cubicBezTo>
              </a:path>
              <a:path w="21347" h="19905" stroke="0" extrusionOk="0">
                <a:moveTo>
                  <a:pt x="8386" y="-1"/>
                </a:moveTo>
                <a:cubicBezTo>
                  <a:pt x="15295" y="2910"/>
                  <a:pt x="20201" y="9196"/>
                  <a:pt x="21346" y="16606"/>
                </a:cubicBezTo>
                <a:lnTo>
                  <a:pt x="0" y="19905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75" name="Oval 8"/>
          <p:cNvSpPr>
            <a:spLocks noChangeArrowheads="1"/>
          </p:cNvSpPr>
          <p:nvPr userDrawn="1"/>
        </p:nvSpPr>
        <p:spPr bwMode="auto">
          <a:xfrm>
            <a:off x="9048888" y="4635962"/>
            <a:ext cx="1743075" cy="1238250"/>
          </a:xfrm>
          <a:prstGeom prst="ellipse">
            <a:avLst/>
          </a:prstGeom>
          <a:solidFill>
            <a:schemeClr val="accent3"/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6" name="Oval 9"/>
          <p:cNvSpPr>
            <a:spLocks noChangeArrowheads="1"/>
          </p:cNvSpPr>
          <p:nvPr userDrawn="1"/>
        </p:nvSpPr>
        <p:spPr bwMode="auto">
          <a:xfrm>
            <a:off x="5612550" y="2894474"/>
            <a:ext cx="1738312" cy="1235075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7" name="Oval 10"/>
          <p:cNvSpPr>
            <a:spLocks noChangeArrowheads="1"/>
          </p:cNvSpPr>
          <p:nvPr userDrawn="1"/>
        </p:nvSpPr>
        <p:spPr bwMode="auto">
          <a:xfrm>
            <a:off x="6571400" y="4635962"/>
            <a:ext cx="1738312" cy="123825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8" name="Oval 11"/>
          <p:cNvSpPr>
            <a:spLocks noChangeArrowheads="1"/>
          </p:cNvSpPr>
          <p:nvPr userDrawn="1"/>
        </p:nvSpPr>
        <p:spPr bwMode="auto">
          <a:xfrm>
            <a:off x="9835300" y="2894474"/>
            <a:ext cx="1744662" cy="1235075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9" name="Oval 12"/>
          <p:cNvSpPr>
            <a:spLocks noChangeArrowheads="1"/>
          </p:cNvSpPr>
          <p:nvPr userDrawn="1"/>
        </p:nvSpPr>
        <p:spPr bwMode="auto">
          <a:xfrm>
            <a:off x="7684237" y="1438737"/>
            <a:ext cx="1739900" cy="11890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80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81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2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85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4727325" cy="39059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s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597663481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. Strategy Slide - Direct Reports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3412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0248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DIRECT REPORTS ORG CHART.</a:t>
            </a:r>
          </a:p>
        </p:txBody>
      </p:sp>
      <p:sp>
        <p:nvSpPr>
          <p:cNvPr id="125" name="Rectangle 124"/>
          <p:cNvSpPr/>
          <p:nvPr/>
        </p:nvSpPr>
        <p:spPr>
          <a:xfrm>
            <a:off x="5428481" y="1565718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cxnSp>
        <p:nvCxnSpPr>
          <p:cNvPr id="81" name="Straight Connector 80"/>
          <p:cNvCxnSpPr/>
          <p:nvPr/>
        </p:nvCxnSpPr>
        <p:spPr>
          <a:xfrm>
            <a:off x="1088796" y="3433191"/>
            <a:ext cx="8490978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/>
        </p:nvCxnSpPr>
        <p:spPr>
          <a:xfrm>
            <a:off x="9579775" y="3433191"/>
            <a:ext cx="1481343" cy="0"/>
          </a:xfrm>
          <a:prstGeom prst="line">
            <a:avLst/>
          </a:prstGeom>
          <a:ln w="6350">
            <a:solidFill>
              <a:schemeClr val="tx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/>
          <p:cNvCxnSpPr/>
          <p:nvPr/>
        </p:nvCxnSpPr>
        <p:spPr>
          <a:xfrm>
            <a:off x="9582047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/>
          <p:cNvCxnSpPr/>
          <p:nvPr/>
        </p:nvCxnSpPr>
        <p:spPr>
          <a:xfrm>
            <a:off x="11061118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/>
          <p:cNvCxnSpPr/>
          <p:nvPr/>
        </p:nvCxnSpPr>
        <p:spPr>
          <a:xfrm>
            <a:off x="5302440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/>
        </p:nvCxnSpPr>
        <p:spPr>
          <a:xfrm>
            <a:off x="3925703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/>
        </p:nvCxnSpPr>
        <p:spPr>
          <a:xfrm>
            <a:off x="2513310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/>
        </p:nvCxnSpPr>
        <p:spPr>
          <a:xfrm>
            <a:off x="1088796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142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43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5519781" y="1674479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519781" y="2691366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44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19781" y="2856097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cxnSp>
        <p:nvCxnSpPr>
          <p:cNvPr id="145" name="Straight Connector 144"/>
          <p:cNvCxnSpPr/>
          <p:nvPr/>
        </p:nvCxnSpPr>
        <p:spPr>
          <a:xfrm>
            <a:off x="6057406" y="3086187"/>
            <a:ext cx="0" cy="343134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/>
          <p:cNvCxnSpPr/>
          <p:nvPr/>
        </p:nvCxnSpPr>
        <p:spPr>
          <a:xfrm>
            <a:off x="6760791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/>
          <p:cNvCxnSpPr/>
          <p:nvPr/>
        </p:nvCxnSpPr>
        <p:spPr>
          <a:xfrm>
            <a:off x="8153492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tangle 150"/>
          <p:cNvSpPr/>
          <p:nvPr userDrawn="1"/>
        </p:nvSpPr>
        <p:spPr>
          <a:xfrm>
            <a:off x="432838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52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524138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53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24138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54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24138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55" name="Rectangle 154"/>
          <p:cNvSpPr/>
          <p:nvPr userDrawn="1"/>
        </p:nvSpPr>
        <p:spPr>
          <a:xfrm>
            <a:off x="1859057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56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1950357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57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1950357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5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1950357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59" name="Rectangle 158"/>
          <p:cNvSpPr/>
          <p:nvPr userDrawn="1"/>
        </p:nvSpPr>
        <p:spPr>
          <a:xfrm>
            <a:off x="3272950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60" name="Picture Placeholder 4"/>
          <p:cNvSpPr>
            <a:spLocks noGrp="1"/>
          </p:cNvSpPr>
          <p:nvPr>
            <p:ph type="pic" sz="quarter" idx="19" hasCustomPrompt="1"/>
          </p:nvPr>
        </p:nvSpPr>
        <p:spPr>
          <a:xfrm>
            <a:off x="3364250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1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3364250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364250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63" name="Rectangle 162"/>
          <p:cNvSpPr/>
          <p:nvPr userDrawn="1"/>
        </p:nvSpPr>
        <p:spPr>
          <a:xfrm>
            <a:off x="4646564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64" name="Picture Placeholder 4"/>
          <p:cNvSpPr>
            <a:spLocks noGrp="1"/>
          </p:cNvSpPr>
          <p:nvPr>
            <p:ph type="pic" sz="quarter" idx="22" hasCustomPrompt="1"/>
          </p:nvPr>
        </p:nvSpPr>
        <p:spPr>
          <a:xfrm>
            <a:off x="4737864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737864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4737864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67" name="Rectangle 166"/>
          <p:cNvSpPr/>
          <p:nvPr userDrawn="1"/>
        </p:nvSpPr>
        <p:spPr>
          <a:xfrm>
            <a:off x="6100746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68" name="Picture Placeholder 4"/>
          <p:cNvSpPr>
            <a:spLocks noGrp="1"/>
          </p:cNvSpPr>
          <p:nvPr>
            <p:ph type="pic" sz="quarter" idx="25" hasCustomPrompt="1"/>
          </p:nvPr>
        </p:nvSpPr>
        <p:spPr>
          <a:xfrm>
            <a:off x="6192046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9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6192046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0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6192046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1" name="Rectangle 170"/>
          <p:cNvSpPr/>
          <p:nvPr userDrawn="1"/>
        </p:nvSpPr>
        <p:spPr>
          <a:xfrm>
            <a:off x="7498529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28" hasCustomPrompt="1"/>
          </p:nvPr>
        </p:nvSpPr>
        <p:spPr>
          <a:xfrm>
            <a:off x="7589829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73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7589829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4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7589829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5" name="Rectangle 174"/>
          <p:cNvSpPr/>
          <p:nvPr userDrawn="1"/>
        </p:nvSpPr>
        <p:spPr>
          <a:xfrm>
            <a:off x="8927502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76" name="Picture Placeholder 4"/>
          <p:cNvSpPr>
            <a:spLocks noGrp="1"/>
          </p:cNvSpPr>
          <p:nvPr>
            <p:ph type="pic" sz="quarter" idx="31" hasCustomPrompt="1"/>
          </p:nvPr>
        </p:nvSpPr>
        <p:spPr>
          <a:xfrm>
            <a:off x="9018802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77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9018802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8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9018802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9" name="Rectangle 178"/>
          <p:cNvSpPr/>
          <p:nvPr userDrawn="1"/>
        </p:nvSpPr>
        <p:spPr>
          <a:xfrm>
            <a:off x="10405847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80" name="Picture Placeholder 4"/>
          <p:cNvSpPr>
            <a:spLocks noGrp="1"/>
          </p:cNvSpPr>
          <p:nvPr>
            <p:ph type="pic" sz="quarter" idx="34" hasCustomPrompt="1"/>
          </p:nvPr>
        </p:nvSpPr>
        <p:spPr>
          <a:xfrm>
            <a:off x="10497147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81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10497147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82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10497147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5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660547930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. Strategy Slide - Company/Function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89644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6047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MPANY / FUNCTION ORG CHART.</a:t>
            </a:r>
          </a:p>
        </p:txBody>
      </p:sp>
      <p:cxnSp>
        <p:nvCxnSpPr>
          <p:cNvPr id="143" name="Straight Connector 142"/>
          <p:cNvCxnSpPr>
            <a:stCxn id="210" idx="2"/>
          </p:cNvCxnSpPr>
          <p:nvPr userDrawn="1"/>
        </p:nvCxnSpPr>
        <p:spPr>
          <a:xfrm>
            <a:off x="5367448" y="2111551"/>
            <a:ext cx="0" cy="568149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/>
          <p:cNvCxnSpPr/>
          <p:nvPr userDrawn="1"/>
        </p:nvCxnSpPr>
        <p:spPr>
          <a:xfrm flipH="1">
            <a:off x="2979125" y="2530165"/>
            <a:ext cx="485527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ounded Rectangle 144"/>
          <p:cNvSpPr/>
          <p:nvPr userDrawn="1"/>
        </p:nvSpPr>
        <p:spPr>
          <a:xfrm>
            <a:off x="2112960" y="27076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46" name="Straight Connector 145"/>
          <p:cNvCxnSpPr/>
          <p:nvPr userDrawn="1"/>
        </p:nvCxnSpPr>
        <p:spPr>
          <a:xfrm>
            <a:off x="2977056" y="2530165"/>
            <a:ext cx="0" cy="149535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ounded Rectangle 146"/>
          <p:cNvSpPr/>
          <p:nvPr userDrawn="1"/>
        </p:nvSpPr>
        <p:spPr>
          <a:xfrm>
            <a:off x="1534225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48" name="Rounded Rectangle 147"/>
          <p:cNvSpPr/>
          <p:nvPr userDrawn="1"/>
        </p:nvSpPr>
        <p:spPr>
          <a:xfrm>
            <a:off x="1534225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49" name="Rounded Rectangle 148"/>
          <p:cNvSpPr/>
          <p:nvPr userDrawn="1"/>
        </p:nvSpPr>
        <p:spPr>
          <a:xfrm>
            <a:off x="1534225" y="47400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50" name="Rounded Rectangle 149"/>
          <p:cNvSpPr/>
          <p:nvPr userDrawn="1"/>
        </p:nvSpPr>
        <p:spPr>
          <a:xfrm>
            <a:off x="1534225" y="5376518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51" name="Straight Connector 150"/>
          <p:cNvCxnSpPr/>
          <p:nvPr userDrawn="1"/>
        </p:nvCxnSpPr>
        <p:spPr>
          <a:xfrm>
            <a:off x="3518616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/>
          <p:cNvCxnSpPr/>
          <p:nvPr userDrawn="1"/>
        </p:nvCxnSpPr>
        <p:spPr>
          <a:xfrm flipH="1">
            <a:off x="3331590" y="435037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/>
          <p:nvPr userDrawn="1"/>
        </p:nvCxnSpPr>
        <p:spPr>
          <a:xfrm>
            <a:off x="3697136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/>
          <p:nvPr userDrawn="1"/>
        </p:nvCxnSpPr>
        <p:spPr>
          <a:xfrm rot="-5400000">
            <a:off x="3796653" y="5536653"/>
            <a:ext cx="0" cy="201706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ounded Rectangle 157"/>
          <p:cNvSpPr/>
          <p:nvPr userDrawn="1"/>
        </p:nvSpPr>
        <p:spPr>
          <a:xfrm>
            <a:off x="4486666" y="27076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59" name="Rounded Rectangle 158"/>
          <p:cNvSpPr/>
          <p:nvPr userDrawn="1"/>
        </p:nvSpPr>
        <p:spPr>
          <a:xfrm>
            <a:off x="3944993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60" name="Rounded Rectangle 159"/>
          <p:cNvSpPr/>
          <p:nvPr userDrawn="1"/>
        </p:nvSpPr>
        <p:spPr>
          <a:xfrm>
            <a:off x="3944993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61" name="Rounded Rectangle 160"/>
          <p:cNvSpPr/>
          <p:nvPr userDrawn="1"/>
        </p:nvSpPr>
        <p:spPr>
          <a:xfrm>
            <a:off x="3944993" y="47400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62" name="Rounded Rectangle 161"/>
          <p:cNvSpPr/>
          <p:nvPr userDrawn="1"/>
        </p:nvSpPr>
        <p:spPr>
          <a:xfrm>
            <a:off x="3944993" y="5376518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63" name="Straight Connector 162"/>
          <p:cNvCxnSpPr/>
          <p:nvPr userDrawn="1"/>
        </p:nvCxnSpPr>
        <p:spPr>
          <a:xfrm>
            <a:off x="5929384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/>
          <p:cNvCxnSpPr/>
          <p:nvPr userDrawn="1"/>
        </p:nvCxnSpPr>
        <p:spPr>
          <a:xfrm flipH="1">
            <a:off x="5750905" y="3705221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Rounded Rectangle 173"/>
          <p:cNvSpPr/>
          <p:nvPr userDrawn="1"/>
        </p:nvSpPr>
        <p:spPr>
          <a:xfrm>
            <a:off x="6849249" y="2723664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75" name="Rounded Rectangle 174"/>
          <p:cNvSpPr/>
          <p:nvPr userDrawn="1"/>
        </p:nvSpPr>
        <p:spPr>
          <a:xfrm>
            <a:off x="6307576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76" name="Rounded Rectangle 175"/>
          <p:cNvSpPr/>
          <p:nvPr userDrawn="1"/>
        </p:nvSpPr>
        <p:spPr>
          <a:xfrm>
            <a:off x="6307576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77" name="Straight Connector 176"/>
          <p:cNvCxnSpPr/>
          <p:nvPr userDrawn="1"/>
        </p:nvCxnSpPr>
        <p:spPr>
          <a:xfrm>
            <a:off x="8291967" y="3281832"/>
            <a:ext cx="0" cy="1068546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0" name="Rounded Rectangle 179"/>
          <p:cNvSpPr/>
          <p:nvPr userDrawn="1"/>
        </p:nvSpPr>
        <p:spPr>
          <a:xfrm>
            <a:off x="9018041" y="3445559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81" name="Rounded Rectangle 180"/>
          <p:cNvSpPr/>
          <p:nvPr userDrawn="1"/>
        </p:nvSpPr>
        <p:spPr>
          <a:xfrm>
            <a:off x="8476368" y="417734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82" name="Rounded Rectangle 181"/>
          <p:cNvSpPr/>
          <p:nvPr userDrawn="1"/>
        </p:nvSpPr>
        <p:spPr>
          <a:xfrm>
            <a:off x="8476368" y="4830540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83" name="Rounded Rectangle 182"/>
          <p:cNvSpPr/>
          <p:nvPr userDrawn="1"/>
        </p:nvSpPr>
        <p:spPr>
          <a:xfrm>
            <a:off x="8476368" y="546191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85" name="Straight Connector 184"/>
          <p:cNvCxnSpPr/>
          <p:nvPr userDrawn="1"/>
        </p:nvCxnSpPr>
        <p:spPr>
          <a:xfrm>
            <a:off x="10460759" y="4003727"/>
            <a:ext cx="0" cy="171585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/>
          <p:cNvCxnSpPr/>
          <p:nvPr userDrawn="1"/>
        </p:nvCxnSpPr>
        <p:spPr>
          <a:xfrm flipH="1">
            <a:off x="10291072" y="4427116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Straight Connector 198"/>
          <p:cNvCxnSpPr/>
          <p:nvPr userDrawn="1"/>
        </p:nvCxnSpPr>
        <p:spPr>
          <a:xfrm>
            <a:off x="7834402" y="2530165"/>
            <a:ext cx="0" cy="177457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Connector 199"/>
          <p:cNvCxnSpPr/>
          <p:nvPr userDrawn="1"/>
        </p:nvCxnSpPr>
        <p:spPr>
          <a:xfrm flipH="1">
            <a:off x="6322236" y="1853247"/>
            <a:ext cx="3545494" cy="0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Connector 200"/>
          <p:cNvCxnSpPr/>
          <p:nvPr userDrawn="1"/>
        </p:nvCxnSpPr>
        <p:spPr>
          <a:xfrm flipV="1">
            <a:off x="9867730" y="1852539"/>
            <a:ext cx="0" cy="1560250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/>
          <p:cNvCxnSpPr/>
          <p:nvPr userDrawn="1"/>
        </p:nvCxnSpPr>
        <p:spPr>
          <a:xfrm flipH="1">
            <a:off x="8104941" y="3725455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Rounded Rectangle 209"/>
          <p:cNvSpPr/>
          <p:nvPr userDrawn="1"/>
        </p:nvSpPr>
        <p:spPr>
          <a:xfrm>
            <a:off x="4486666" y="160589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20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610101" y="1738623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0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610101" y="1903354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04650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2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604650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3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976375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4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6976375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5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2239275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6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2239275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17" name="Straight Connector 216"/>
          <p:cNvCxnSpPr/>
          <p:nvPr userDrawn="1"/>
        </p:nvCxnSpPr>
        <p:spPr>
          <a:xfrm flipH="1">
            <a:off x="8104941" y="4350930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166142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9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166142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20" name="Straight Connector 219"/>
          <p:cNvCxnSpPr/>
          <p:nvPr userDrawn="1"/>
        </p:nvCxnSpPr>
        <p:spPr>
          <a:xfrm flipH="1">
            <a:off x="3331590" y="373442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/>
          <p:cNvCxnSpPr/>
          <p:nvPr userDrawn="1"/>
        </p:nvCxnSpPr>
        <p:spPr>
          <a:xfrm flipH="1">
            <a:off x="3331590" y="5007603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/>
          <p:cNvCxnSpPr/>
          <p:nvPr userDrawn="1"/>
        </p:nvCxnSpPr>
        <p:spPr>
          <a:xfrm flipH="1">
            <a:off x="3331590" y="563307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1661425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4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1661425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2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1661425" y="486992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1661425" y="503465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27" name="Text Placeholder 7"/>
          <p:cNvSpPr>
            <a:spLocks noGrp="1"/>
          </p:cNvSpPr>
          <p:nvPr>
            <p:ph type="body" sz="quarter" idx="25" hasCustomPrompt="1"/>
          </p:nvPr>
        </p:nvSpPr>
        <p:spPr>
          <a:xfrm>
            <a:off x="1661425" y="5508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8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1661425" y="5672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0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4063966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1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063966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2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4063966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3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4063966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4" name="Text Placeholder 7"/>
          <p:cNvSpPr>
            <a:spLocks noGrp="1"/>
          </p:cNvSpPr>
          <p:nvPr>
            <p:ph type="body" sz="quarter" idx="31" hasCustomPrompt="1"/>
          </p:nvPr>
        </p:nvSpPr>
        <p:spPr>
          <a:xfrm>
            <a:off x="4063966" y="486992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5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4063966" y="503465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6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4063966" y="5508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7" name="Text Placehold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063966" y="5672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5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8600107" y="4312984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46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8600107" y="4477715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7" name="Text Placeholder 7"/>
          <p:cNvSpPr>
            <a:spLocks noGrp="1"/>
          </p:cNvSpPr>
          <p:nvPr>
            <p:ph type="body" sz="quarter" idx="37" hasCustomPrompt="1"/>
          </p:nvPr>
        </p:nvSpPr>
        <p:spPr>
          <a:xfrm>
            <a:off x="8600107" y="4941634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48" name="Text Placeholder 7"/>
          <p:cNvSpPr>
            <a:spLocks noGrp="1"/>
          </p:cNvSpPr>
          <p:nvPr>
            <p:ph type="body" sz="quarter" idx="38" hasCustomPrompt="1"/>
          </p:nvPr>
        </p:nvSpPr>
        <p:spPr>
          <a:xfrm>
            <a:off x="8600107" y="5106365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9" name="Text Placeholder 7"/>
          <p:cNvSpPr>
            <a:spLocks noGrp="1"/>
          </p:cNvSpPr>
          <p:nvPr>
            <p:ph type="body" sz="quarter" idx="39" hasCustomPrompt="1"/>
          </p:nvPr>
        </p:nvSpPr>
        <p:spPr>
          <a:xfrm>
            <a:off x="8600107" y="5579809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0" name="Text Placeholder 7"/>
          <p:cNvSpPr>
            <a:spLocks noGrp="1"/>
          </p:cNvSpPr>
          <p:nvPr>
            <p:ph type="body" sz="quarter" idx="40" hasCustomPrompt="1"/>
          </p:nvPr>
        </p:nvSpPr>
        <p:spPr>
          <a:xfrm>
            <a:off x="8600107" y="5744540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1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643662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2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643662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3" name="Text Placeholder 7"/>
          <p:cNvSpPr>
            <a:spLocks noGrp="1"/>
          </p:cNvSpPr>
          <p:nvPr>
            <p:ph type="body" sz="quarter" idx="43" hasCustomPrompt="1"/>
          </p:nvPr>
        </p:nvSpPr>
        <p:spPr>
          <a:xfrm>
            <a:off x="6436625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4" name="Text Placeholder 7"/>
          <p:cNvSpPr>
            <a:spLocks noGrp="1"/>
          </p:cNvSpPr>
          <p:nvPr>
            <p:ph type="body" sz="quarter" idx="44" hasCustomPrompt="1"/>
          </p:nvPr>
        </p:nvSpPr>
        <p:spPr>
          <a:xfrm>
            <a:off x="6436625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5" name="Text Placeholder 7"/>
          <p:cNvSpPr>
            <a:spLocks noGrp="1"/>
          </p:cNvSpPr>
          <p:nvPr>
            <p:ph type="body" sz="quarter" idx="45" hasCustomPrompt="1"/>
          </p:nvPr>
        </p:nvSpPr>
        <p:spPr>
          <a:xfrm>
            <a:off x="916189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6" name="Text Placeholder 7"/>
          <p:cNvSpPr>
            <a:spLocks noGrp="1"/>
          </p:cNvSpPr>
          <p:nvPr>
            <p:ph type="body" sz="quarter" idx="46" hasCustomPrompt="1"/>
          </p:nvPr>
        </p:nvSpPr>
        <p:spPr>
          <a:xfrm>
            <a:off x="916189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57" name="Straight Connector 256"/>
          <p:cNvCxnSpPr/>
          <p:nvPr userDrawn="1"/>
        </p:nvCxnSpPr>
        <p:spPr>
          <a:xfrm flipH="1">
            <a:off x="10291072" y="5104123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Straight Connector 257"/>
          <p:cNvCxnSpPr/>
          <p:nvPr userDrawn="1"/>
        </p:nvCxnSpPr>
        <p:spPr>
          <a:xfrm flipH="1">
            <a:off x="10291072" y="5719585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Straight Connector 258"/>
          <p:cNvCxnSpPr/>
          <p:nvPr userDrawn="1"/>
        </p:nvCxnSpPr>
        <p:spPr>
          <a:xfrm flipH="1">
            <a:off x="5750905" y="4377832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Straight Connector 259"/>
          <p:cNvCxnSpPr/>
          <p:nvPr userDrawn="1"/>
        </p:nvCxnSpPr>
        <p:spPr>
          <a:xfrm flipH="1">
            <a:off x="5750905" y="5024067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Straight Connector 260"/>
          <p:cNvCxnSpPr/>
          <p:nvPr userDrawn="1"/>
        </p:nvCxnSpPr>
        <p:spPr>
          <a:xfrm flipH="1">
            <a:off x="5750905" y="5630736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078282505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. Strategy Slid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44353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58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BLANK SLIDE FOR BESPOKE USE.</a:t>
            </a:r>
          </a:p>
        </p:txBody>
      </p:sp>
      <p:sp>
        <p:nvSpPr>
          <p:cNvPr id="7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7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287703740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. Strategy Slide Blank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0771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885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NFIDENTIAL SLIDE.</a:t>
            </a:r>
          </a:p>
        </p:txBody>
      </p:sp>
      <p:sp>
        <p:nvSpPr>
          <p:cNvPr id="5" name="Parallelogram 4"/>
          <p:cNvSpPr/>
          <p:nvPr userDrawn="1"/>
        </p:nvSpPr>
        <p:spPr>
          <a:xfrm rot="10800000" flipH="1">
            <a:off x="9353004" y="3501"/>
            <a:ext cx="1514367" cy="998836"/>
          </a:xfrm>
          <a:prstGeom prst="parallelogram">
            <a:avLst>
              <a:gd name="adj" fmla="val 100977"/>
            </a:avLst>
          </a:prstGeom>
          <a:solidFill>
            <a:schemeClr val="accent4"/>
          </a:solidFill>
          <a:ln>
            <a:noFill/>
          </a:ln>
          <a:effectLst>
            <a:outerShdw blurRad="381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 rot="2653766">
            <a:off x="9346483" y="320608"/>
            <a:ext cx="1546873" cy="3552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NFIDENTIAL</a:t>
            </a:r>
          </a:p>
        </p:txBody>
      </p:sp>
      <p:sp>
        <p:nvSpPr>
          <p:cNvPr id="6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65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65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26990167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. Strategy Slide 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2415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04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EXECUTIVE SUMMARY SLIDE.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36571" y="1548820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| 01</a:t>
            </a:r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557293" y="1550217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br>
              <a:rPr lang="en-US"/>
            </a:br>
            <a:r>
              <a:rPr lang="en-US"/>
              <a:t>• 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38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36571" y="2462733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| 02</a:t>
            </a:r>
          </a:p>
        </p:txBody>
      </p:sp>
      <p:sp>
        <p:nvSpPr>
          <p:cNvPr id="41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36570" y="3380924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/>
              <a:t>| 03</a:t>
            </a:r>
          </a:p>
        </p:txBody>
      </p:sp>
      <p:sp>
        <p:nvSpPr>
          <p:cNvPr id="44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736570" y="4298839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| 04</a:t>
            </a:r>
          </a:p>
        </p:txBody>
      </p:sp>
      <p:sp>
        <p:nvSpPr>
          <p:cNvPr id="50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736570" y="5184791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| 05</a:t>
            </a:r>
          </a:p>
        </p:txBody>
      </p:sp>
      <p:sp>
        <p:nvSpPr>
          <p:cNvPr id="52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1557293" y="2462733"/>
            <a:ext cx="5284941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br>
              <a:rPr lang="en-US"/>
            </a:br>
            <a:r>
              <a:rPr lang="en-US"/>
              <a:t>• Lea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</a:p>
        </p:txBody>
      </p:sp>
      <p:sp>
        <p:nvSpPr>
          <p:cNvPr id="53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1557293" y="3376282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br>
              <a:rPr lang="en-US"/>
            </a:br>
            <a:r>
              <a:rPr lang="en-US"/>
              <a:t>•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endParaRPr lang="en-US"/>
          </a:p>
        </p:txBody>
      </p:sp>
      <p:sp>
        <p:nvSpPr>
          <p:cNvPr id="54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1557293" y="4297539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 </a:t>
            </a:r>
            <a:r>
              <a:rPr lang="en-US" err="1"/>
              <a:t>prompta</a:t>
            </a:r>
            <a:r>
              <a:rPr lang="en-US"/>
              <a:t> qui no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55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1557293" y="5187109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imperdie</a:t>
            </a:r>
            <a:br>
              <a:rPr lang="en-US"/>
            </a:br>
            <a:r>
              <a:rPr lang="en-US"/>
              <a:t>•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</a:p>
        </p:txBody>
      </p:sp>
      <p:sp>
        <p:nvSpPr>
          <p:cNvPr id="5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5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5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917167246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5468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44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47899" y="6576501"/>
            <a:ext cx="1000224" cy="3007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1354" smtClean="0">
                <a:solidFill>
                  <a:schemeClr val="bg1"/>
                </a:solidFill>
              </a:defRPr>
            </a:lvl1pPr>
          </a:lstStyle>
          <a:p>
            <a:pPr algn="r"/>
            <a:fld id="{C8507A14-4665-4A48-8705-D94B2A19126F}" type="slidenum">
              <a:rPr lang="en-US" smtClean="0"/>
              <a:pPr algn="r"/>
              <a:t>‹Nº›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3076" y="6596057"/>
            <a:ext cx="8990928" cy="3007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nl-NL" sz="1354">
                <a:solidFill>
                  <a:schemeClr val="bg1"/>
                </a:solidFill>
              </a:defRPr>
            </a:lvl1pPr>
          </a:lstStyle>
          <a:p>
            <a:r>
              <a:rPr lang="en-US"/>
              <a:t>Projects Update  I  January 22, 2019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43077" y="390655"/>
            <a:ext cx="9600000" cy="52578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3090383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Front Cover Slide - Fibre Optic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FEABE88-742E-41C3-BB22-5C1E4EC979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592" imgH="591" progId="TCLayout.ActiveDocument.1">
                  <p:embed/>
                </p:oleObj>
              </mc:Choice>
              <mc:Fallback>
                <p:oleObj name="Diapositiva de think-cell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FEABE88-742E-41C3-BB22-5C1E4EC979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9972D0F-5B45-4A77-B504-F73820C547E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584BA00-5A5A-49D8-8A4C-5325E89B56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76" y="0"/>
            <a:ext cx="12188824" cy="5101753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7" cstate="screen">
            <a:alphaModFix amt="3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19861" y="0"/>
            <a:ext cx="2372139" cy="4802775"/>
          </a:xfrm>
          <a:prstGeom prst="rect">
            <a:avLst/>
          </a:prstGeom>
          <a:effectLst/>
        </p:spPr>
      </p:pic>
      <p:sp>
        <p:nvSpPr>
          <p:cNvPr id="10" name="Rounded Rectangle 9"/>
          <p:cNvSpPr/>
          <p:nvPr userDrawn="1"/>
        </p:nvSpPr>
        <p:spPr>
          <a:xfrm>
            <a:off x="2552617" y="4720143"/>
            <a:ext cx="1148080" cy="450932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548398" y="5081170"/>
            <a:ext cx="1144933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ounded Rectangle 11"/>
          <p:cNvSpPr/>
          <p:nvPr userDrawn="1"/>
        </p:nvSpPr>
        <p:spPr>
          <a:xfrm>
            <a:off x="1366112" y="4720143"/>
            <a:ext cx="1148080" cy="450932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1370281" y="5081170"/>
            <a:ext cx="1144933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ounded Rectangle 13"/>
          <p:cNvSpPr/>
          <p:nvPr userDrawn="1"/>
        </p:nvSpPr>
        <p:spPr>
          <a:xfrm>
            <a:off x="182404" y="4720143"/>
            <a:ext cx="1148080" cy="450932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223643" y="4629706"/>
            <a:ext cx="1119423" cy="61555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400">
                <a:solidFill>
                  <a:schemeClr val="bg1"/>
                </a:solidFill>
                <a:effectLst/>
              </a:rPr>
              <a:t>Part of Liberty Latin America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144" t="13098" r="7849" b="8586"/>
          <a:stretch/>
        </p:blipFill>
        <p:spPr>
          <a:xfrm>
            <a:off x="310601" y="4778187"/>
            <a:ext cx="873110" cy="232210"/>
          </a:xfrm>
          <a:prstGeom prst="rect">
            <a:avLst/>
          </a:prstGeom>
          <a:effectLst/>
        </p:spPr>
      </p:pic>
      <p:cxnSp>
        <p:nvCxnSpPr>
          <p:cNvPr id="17" name="Straight Connector 16"/>
          <p:cNvCxnSpPr/>
          <p:nvPr userDrawn="1"/>
        </p:nvCxnSpPr>
        <p:spPr>
          <a:xfrm flipV="1">
            <a:off x="182404" y="5087344"/>
            <a:ext cx="1149102" cy="14409"/>
          </a:xfrm>
          <a:prstGeom prst="line">
            <a:avLst/>
          </a:prstGeom>
          <a:ln w="38100">
            <a:solidFill>
              <a:schemeClr val="accent6">
                <a:lumMod val="50000"/>
              </a:schemeClr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5868983"/>
            <a:ext cx="2743200" cy="271225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09CF5F40-A6E3-4F12-980F-3C2C12AE0FC5}" type="datetime2">
              <a:rPr lang="en-US" smtClean="0"/>
              <a:t>Sunday, July 17, 2022</a:t>
            </a:fld>
            <a:endParaRPr lang="en-US"/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5511800"/>
            <a:ext cx="9939866" cy="529167"/>
          </a:xfrm>
          <a:prstGeom prst="rect">
            <a:avLst/>
          </a:prstGeom>
        </p:spPr>
        <p:txBody>
          <a:bodyPr lIns="0" tIns="0" rIns="0" bIns="0"/>
          <a:lstStyle>
            <a:lvl1pPr>
              <a:defRPr baseline="0"/>
            </a:lvl1pPr>
          </a:lstStyle>
          <a:p>
            <a:r>
              <a:rPr lang="en-US"/>
              <a:t>FRONT COVER SLIDE | UPPERCASE ONLY | 32P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6110869"/>
            <a:ext cx="9939867" cy="345184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aseline="0"/>
            </a:lvl1pPr>
          </a:lstStyle>
          <a:p>
            <a:pPr lvl="0"/>
            <a:r>
              <a:rPr lang="en-US"/>
              <a:t>FRONT COVER SUB HEADING | UPPERCASE ONLY | 18PT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0" y="5098454"/>
            <a:ext cx="12191999" cy="2826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cxnSp>
        <p:nvCxnSpPr>
          <p:cNvPr id="26" name="Straight Connector 25"/>
          <p:cNvCxnSpPr/>
          <p:nvPr userDrawn="1"/>
        </p:nvCxnSpPr>
        <p:spPr>
          <a:xfrm>
            <a:off x="0" y="5083683"/>
            <a:ext cx="12192000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3" name="Picture 52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4123" y="4731140"/>
            <a:ext cx="692427" cy="325697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0811" y="4755817"/>
            <a:ext cx="653109" cy="268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21659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. Strategy Slide - Table 9 Rows /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478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78" imgH="377" progId="TCLayout.ActiveDocument.1">
                  <p:embed/>
                </p:oleObj>
              </mc:Choice>
              <mc:Fallback>
                <p:oleObj name="Diapositiva de think-cell" r:id="rId5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349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ABLE 9 ROWS AND 9 COLUMNS</a:t>
            </a:r>
          </a:p>
        </p:txBody>
      </p:sp>
      <p:graphicFrame>
        <p:nvGraphicFramePr>
          <p:cNvPr id="33" name="Group 3"/>
          <p:cNvGraphicFramePr>
            <a:graphicFrameLocks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1273012"/>
              </p:ext>
            </p:extLst>
          </p:nvPr>
        </p:nvGraphicFramePr>
        <p:xfrm>
          <a:off x="783770" y="1534944"/>
          <a:ext cx="10377812" cy="4317034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16969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3161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1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34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5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6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607370329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Strategy Slide -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3027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31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NTENTS PAGE/SLIDE WITH NUMBERS.</a:t>
            </a:r>
          </a:p>
        </p:txBody>
      </p:sp>
      <p:graphicFrame>
        <p:nvGraphicFramePr>
          <p:cNvPr id="12" name="Table 11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641149329"/>
              </p:ext>
            </p:extLst>
          </p:nvPr>
        </p:nvGraphicFramePr>
        <p:xfrm>
          <a:off x="725212" y="1553302"/>
          <a:ext cx="10773104" cy="4246129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94488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43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INTRODUCTION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6254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IRST TOPIC HER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  <a:endParaRPr lang="en-US" sz="1200" baseline="0">
                        <a:solidFill>
                          <a:schemeClr val="accent3"/>
                        </a:solidFill>
                      </a:endParaRP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Third Subject Heading Her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3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4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5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3682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ECOND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TOPIC HER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7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8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9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THIRD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0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OURTH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62546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IFTH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Third Subject Heading Her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8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19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20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2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IXTH TOPIC HERE.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2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EVENTH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TOPIC HER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4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7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8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790116958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Strategy Slide - Intro Para,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81011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NTRO PARAGRAPH WITH BULLET POINTS AND PICTURE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26231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311344921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Strategy Slide - Intro Para, Bullets, 4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2190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NTRO PARAGRAPH WITH BULLET POINTS AND 4 X PICTURES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1" y="15525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26231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37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804400" y="15525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38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7550151" y="37623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39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9804400" y="37623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40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41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2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223735881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 Strategy Slide - Large Bol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8952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050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LARGE BOLD TEXT FOR CREATIVE INTEREST.</a:t>
            </a:r>
          </a:p>
        </p:txBody>
      </p:sp>
      <p:sp>
        <p:nvSpPr>
          <p:cNvPr id="44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10348785" cy="43800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4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4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841513850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 Strategy Slide - Large Bold 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96553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86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LARGE BOLD TEXT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5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6444347" cy="32050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s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</a:t>
            </a:r>
          </a:p>
        </p:txBody>
      </p:sp>
      <p:sp>
        <p:nvSpPr>
          <p:cNvPr id="7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7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36654208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 Strategy Slide - Numbered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19015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7453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NUMBERED BULLET POINTS WITH DESCRIPTIONS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36571" y="1548820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| 01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546783" y="1548820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4" y="2080519"/>
            <a:ext cx="5980386" cy="408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7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36571" y="2678157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| 02</a:t>
            </a:r>
          </a:p>
        </p:txBody>
      </p:sp>
      <p:sp>
        <p:nvSpPr>
          <p:cNvPr id="77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546783" y="2678157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7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25214" y="3209856"/>
            <a:ext cx="5475889" cy="408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79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36571" y="3809511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| 03</a:t>
            </a:r>
          </a:p>
        </p:txBody>
      </p:sp>
      <p:sp>
        <p:nvSpPr>
          <p:cNvPr id="80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1546783" y="3809511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81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725214" y="4341210"/>
            <a:ext cx="5707117" cy="392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5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736571" y="4927598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| 04</a:t>
            </a:r>
          </a:p>
        </p:txBody>
      </p:sp>
      <p:sp>
        <p:nvSpPr>
          <p:cNvPr id="86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1546783" y="4927598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87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725214" y="5459297"/>
            <a:ext cx="5085527" cy="392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9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9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450586136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 Strategy Slide - Icon/Symbol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95372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86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CON/SYMBOL BULLET POINTS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546782" y="1548820"/>
            <a:ext cx="5493795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4" hasCustomPrompt="1"/>
          </p:nvPr>
        </p:nvSpPr>
        <p:spPr>
          <a:xfrm>
            <a:off x="725213" y="1536239"/>
            <a:ext cx="726483" cy="584200"/>
          </a:xfrm>
          <a:prstGeom prst="rect">
            <a:avLst/>
          </a:prstGeom>
          <a:solidFill>
            <a:schemeClr val="accent3">
              <a:lumMod val="5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54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1546782" y="2362201"/>
            <a:ext cx="5751873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55" name="Picture Placeholder 5"/>
          <p:cNvSpPr>
            <a:spLocks noGrp="1"/>
          </p:cNvSpPr>
          <p:nvPr>
            <p:ph type="pic" sz="quarter" idx="26" hasCustomPrompt="1"/>
          </p:nvPr>
        </p:nvSpPr>
        <p:spPr>
          <a:xfrm>
            <a:off x="725213" y="2349620"/>
            <a:ext cx="726483" cy="584200"/>
          </a:xfrm>
          <a:prstGeom prst="rect">
            <a:avLst/>
          </a:prstGeom>
          <a:solidFill>
            <a:schemeClr val="accent3">
              <a:lumMod val="75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82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1546783" y="3191126"/>
            <a:ext cx="4801368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3" name="Picture Placeholder 5"/>
          <p:cNvSpPr>
            <a:spLocks noGrp="1"/>
          </p:cNvSpPr>
          <p:nvPr>
            <p:ph type="pic" sz="quarter" idx="28" hasCustomPrompt="1"/>
          </p:nvPr>
        </p:nvSpPr>
        <p:spPr>
          <a:xfrm>
            <a:off x="725213" y="3178545"/>
            <a:ext cx="726483" cy="584200"/>
          </a:xfrm>
          <a:prstGeom prst="rect">
            <a:avLst/>
          </a:prstGeom>
          <a:solidFill>
            <a:schemeClr val="accent3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84" name="Text Placeholder 9"/>
          <p:cNvSpPr>
            <a:spLocks noGrp="1"/>
          </p:cNvSpPr>
          <p:nvPr>
            <p:ph type="body" sz="quarter" idx="29" hasCustomPrompt="1"/>
          </p:nvPr>
        </p:nvSpPr>
        <p:spPr>
          <a:xfrm>
            <a:off x="1546783" y="4034623"/>
            <a:ext cx="5493794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br>
              <a:rPr lang="en-US"/>
            </a:b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8" name="Picture Placeholder 5"/>
          <p:cNvSpPr>
            <a:spLocks noGrp="1"/>
          </p:cNvSpPr>
          <p:nvPr>
            <p:ph type="pic" sz="quarter" idx="30" hasCustomPrompt="1"/>
          </p:nvPr>
        </p:nvSpPr>
        <p:spPr>
          <a:xfrm>
            <a:off x="725213" y="4022042"/>
            <a:ext cx="726483" cy="584200"/>
          </a:xfrm>
          <a:prstGeom prst="rect">
            <a:avLst/>
          </a:prstGeom>
          <a:solidFill>
            <a:schemeClr val="tx1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93" name="Text Placeholder 9"/>
          <p:cNvSpPr>
            <a:spLocks noGrp="1"/>
          </p:cNvSpPr>
          <p:nvPr>
            <p:ph type="body" sz="quarter" idx="31" hasCustomPrompt="1"/>
          </p:nvPr>
        </p:nvSpPr>
        <p:spPr>
          <a:xfrm>
            <a:off x="1546783" y="4874167"/>
            <a:ext cx="5863010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94" name="Picture Placeholder 5"/>
          <p:cNvSpPr>
            <a:spLocks noGrp="1"/>
          </p:cNvSpPr>
          <p:nvPr>
            <p:ph type="pic" sz="quarter" idx="32" hasCustomPrompt="1"/>
          </p:nvPr>
        </p:nvSpPr>
        <p:spPr>
          <a:xfrm>
            <a:off x="725213" y="4861586"/>
            <a:ext cx="726483" cy="584200"/>
          </a:xfrm>
          <a:prstGeom prst="rect">
            <a:avLst/>
          </a:prstGeom>
          <a:solidFill>
            <a:schemeClr val="tx2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9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9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9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042073732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 Strategy Slide - 5 Circle Icon/Symbol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5711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cxnSp>
        <p:nvCxnSpPr>
          <p:cNvPr id="92" name="Straight Connector 91"/>
          <p:cNvCxnSpPr/>
          <p:nvPr userDrawn="1"/>
        </p:nvCxnSpPr>
        <p:spPr>
          <a:xfrm>
            <a:off x="2069538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/>
          <p:nvPr userDrawn="1"/>
        </p:nvCxnSpPr>
        <p:spPr>
          <a:xfrm>
            <a:off x="4054400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1750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FIVE CIRCLE ICON/SYMBOLS WITH BULLET POINTS.</a:t>
            </a:r>
          </a:p>
        </p:txBody>
      </p:sp>
      <p:sp>
        <p:nvSpPr>
          <p:cNvPr id="80" name="Oval 79"/>
          <p:cNvSpPr/>
          <p:nvPr userDrawn="1"/>
        </p:nvSpPr>
        <p:spPr>
          <a:xfrm>
            <a:off x="1401475" y="1653167"/>
            <a:ext cx="1341345" cy="1341345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85" name="TextBox 84"/>
          <p:cNvSpPr txBox="1"/>
          <p:nvPr userDrawn="1"/>
        </p:nvSpPr>
        <p:spPr>
          <a:xfrm>
            <a:off x="1636402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1</a:t>
            </a:r>
          </a:p>
        </p:txBody>
      </p:sp>
      <p:pic>
        <p:nvPicPr>
          <p:cNvPr id="86" name="Picture 85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7578" y="2424127"/>
            <a:ext cx="575529" cy="383686"/>
          </a:xfrm>
          <a:prstGeom prst="rect">
            <a:avLst/>
          </a:prstGeom>
        </p:spPr>
      </p:pic>
      <p:sp>
        <p:nvSpPr>
          <p:cNvPr id="10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232815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06" name="Oval 105"/>
          <p:cNvSpPr/>
          <p:nvPr userDrawn="1"/>
        </p:nvSpPr>
        <p:spPr>
          <a:xfrm>
            <a:off x="3386337" y="1653167"/>
            <a:ext cx="1341345" cy="1341345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7" name="TextBox 106"/>
          <p:cNvSpPr txBox="1"/>
          <p:nvPr userDrawn="1"/>
        </p:nvSpPr>
        <p:spPr>
          <a:xfrm>
            <a:off x="3621264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1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217677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99" name="Picture 98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5852" y="2409762"/>
            <a:ext cx="277095" cy="512721"/>
          </a:xfrm>
          <a:prstGeom prst="rect">
            <a:avLst/>
          </a:prstGeom>
        </p:spPr>
      </p:pic>
      <p:cxnSp>
        <p:nvCxnSpPr>
          <p:cNvPr id="112" name="Straight Connector 111"/>
          <p:cNvCxnSpPr/>
          <p:nvPr userDrawn="1"/>
        </p:nvCxnSpPr>
        <p:spPr>
          <a:xfrm>
            <a:off x="6044322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Oval 112"/>
          <p:cNvSpPr/>
          <p:nvPr userDrawn="1"/>
        </p:nvSpPr>
        <p:spPr>
          <a:xfrm>
            <a:off x="5376259" y="1653167"/>
            <a:ext cx="1341345" cy="1341345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4" name="TextBox 113"/>
          <p:cNvSpPr txBox="1"/>
          <p:nvPr userDrawn="1"/>
        </p:nvSpPr>
        <p:spPr>
          <a:xfrm>
            <a:off x="5611186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11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207599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98" name="Picture 97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75509" y="2370311"/>
            <a:ext cx="537625" cy="472590"/>
          </a:xfrm>
          <a:prstGeom prst="rect">
            <a:avLst/>
          </a:prstGeom>
        </p:spPr>
      </p:pic>
      <p:cxnSp>
        <p:nvCxnSpPr>
          <p:cNvPr id="118" name="Straight Connector 117"/>
          <p:cNvCxnSpPr/>
          <p:nvPr userDrawn="1"/>
        </p:nvCxnSpPr>
        <p:spPr>
          <a:xfrm>
            <a:off x="8017846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Oval 118"/>
          <p:cNvSpPr/>
          <p:nvPr userDrawn="1"/>
        </p:nvSpPr>
        <p:spPr>
          <a:xfrm>
            <a:off x="7349783" y="1653167"/>
            <a:ext cx="1341345" cy="1341345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20" name="TextBox 119"/>
          <p:cNvSpPr txBox="1"/>
          <p:nvPr userDrawn="1"/>
        </p:nvSpPr>
        <p:spPr>
          <a:xfrm>
            <a:off x="7584710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4</a:t>
            </a:r>
          </a:p>
        </p:txBody>
      </p:sp>
      <p:sp>
        <p:nvSpPr>
          <p:cNvPr id="122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181123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100" name="Picture 99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1756" y="2406174"/>
            <a:ext cx="432179" cy="410414"/>
          </a:xfrm>
          <a:prstGeom prst="rect">
            <a:avLst/>
          </a:prstGeom>
        </p:spPr>
      </p:pic>
      <p:cxnSp>
        <p:nvCxnSpPr>
          <p:cNvPr id="124" name="Straight Connector 123"/>
          <p:cNvCxnSpPr/>
          <p:nvPr userDrawn="1"/>
        </p:nvCxnSpPr>
        <p:spPr>
          <a:xfrm>
            <a:off x="9988760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Oval 124"/>
          <p:cNvSpPr/>
          <p:nvPr userDrawn="1"/>
        </p:nvSpPr>
        <p:spPr>
          <a:xfrm>
            <a:off x="9320697" y="1653167"/>
            <a:ext cx="1341345" cy="134134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26" name="TextBox 125"/>
          <p:cNvSpPr txBox="1"/>
          <p:nvPr userDrawn="1"/>
        </p:nvSpPr>
        <p:spPr>
          <a:xfrm>
            <a:off x="9555624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5</a:t>
            </a:r>
          </a:p>
        </p:txBody>
      </p:sp>
      <p:sp>
        <p:nvSpPr>
          <p:cNvPr id="12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52037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130" name="Picture 129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0669" y="2430632"/>
            <a:ext cx="596182" cy="340676"/>
          </a:xfrm>
          <a:prstGeom prst="rect">
            <a:avLst/>
          </a:prstGeom>
        </p:spPr>
      </p:pic>
      <p:sp>
        <p:nvSpPr>
          <p:cNvPr id="42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1232815" y="3524598"/>
            <a:ext cx="1672617" cy="396240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PEOPLE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3215559" y="3524598"/>
            <a:ext cx="1672617" cy="396240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PLACE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5208012" y="3524598"/>
            <a:ext cx="1672617" cy="396240"/>
          </a:xfrm>
          <a:prstGeom prst="rect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TIME</a:t>
            </a:r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7176317" y="3524598"/>
            <a:ext cx="1672617" cy="396240"/>
          </a:xfrm>
          <a:prstGeom prst="rect">
            <a:avLst/>
          </a:prstGeo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RESULT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9144622" y="3524598"/>
            <a:ext cx="1672617" cy="396240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FUTURE</a:t>
            </a:r>
          </a:p>
        </p:txBody>
      </p:sp>
      <p:sp>
        <p:nvSpPr>
          <p:cNvPr id="3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83620736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 Strategy Slide - 3 Numbered Boxes with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240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58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NUMBERED BOXES WITH TEXT/BULLET POINTS.</a:t>
            </a:r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3044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73149" y="19337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841881" y="18508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41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9239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692649" y="19337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4461381" y="18508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613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5434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55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312149" y="19337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6" name="Oval 55"/>
          <p:cNvSpPr/>
          <p:nvPr userDrawn="1"/>
        </p:nvSpPr>
        <p:spPr>
          <a:xfrm>
            <a:off x="8080881" y="18508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080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624432267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 Strategy Slide - 6 Numbered Boxes with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1678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31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NUMBERED BOXES WITH TEXT.</a:t>
            </a:r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3044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.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73149" y="19337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841881" y="18508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41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9239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</a:t>
            </a:r>
            <a:endParaRPr lang="en-US"/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692649" y="19337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4461381" y="18508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613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5434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55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312149" y="19337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6" name="Oval 55"/>
          <p:cNvSpPr/>
          <p:nvPr userDrawn="1"/>
        </p:nvSpPr>
        <p:spPr>
          <a:xfrm>
            <a:off x="8080881" y="18508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080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13044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</a:t>
            </a:r>
            <a:endParaRPr lang="en-US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1073149" y="41689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23" name="Oval 22"/>
          <p:cNvSpPr/>
          <p:nvPr userDrawn="1"/>
        </p:nvSpPr>
        <p:spPr>
          <a:xfrm>
            <a:off x="841881" y="40860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8418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49239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4692649" y="41689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27" name="Oval 26"/>
          <p:cNvSpPr/>
          <p:nvPr userDrawn="1"/>
        </p:nvSpPr>
        <p:spPr>
          <a:xfrm>
            <a:off x="4461381" y="40860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8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44613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0" hasCustomPrompt="1"/>
          </p:nvPr>
        </p:nvSpPr>
        <p:spPr>
          <a:xfrm>
            <a:off x="85434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.</a:t>
            </a:r>
          </a:p>
        </p:txBody>
      </p:sp>
      <p:sp>
        <p:nvSpPr>
          <p:cNvPr id="30" name="Text Placeholder 8"/>
          <p:cNvSpPr>
            <a:spLocks noGrp="1"/>
          </p:cNvSpPr>
          <p:nvPr>
            <p:ph type="body" sz="quarter" idx="31" hasCustomPrompt="1"/>
          </p:nvPr>
        </p:nvSpPr>
        <p:spPr>
          <a:xfrm>
            <a:off x="8312149" y="41689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31" name="Oval 30"/>
          <p:cNvSpPr/>
          <p:nvPr userDrawn="1"/>
        </p:nvSpPr>
        <p:spPr>
          <a:xfrm>
            <a:off x="8080881" y="40860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32" name="Text Placeholder 10"/>
          <p:cNvSpPr>
            <a:spLocks noGrp="1"/>
          </p:cNvSpPr>
          <p:nvPr>
            <p:ph type="body" sz="quarter" idx="32" hasCustomPrompt="1"/>
          </p:nvPr>
        </p:nvSpPr>
        <p:spPr>
          <a:xfrm>
            <a:off x="80808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3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09389127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. Strategy Slide - Table 4 Rows /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54411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78" imgH="377" progId="TCLayout.ActiveDocument.1">
                  <p:embed/>
                </p:oleObj>
              </mc:Choice>
              <mc:Fallback>
                <p:oleObj name="Diapositiva de think-cell" r:id="rId5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511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ABLE 3 COLUMNS 4 ROWS</a:t>
            </a:r>
          </a:p>
        </p:txBody>
      </p:sp>
      <p:graphicFrame>
        <p:nvGraphicFramePr>
          <p:cNvPr id="34" name="Group 4"/>
          <p:cNvGraphicFramePr>
            <a:graphicFrameLocks noGrp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18237180"/>
              </p:ext>
            </p:extLst>
          </p:nvPr>
        </p:nvGraphicFramePr>
        <p:xfrm>
          <a:off x="954157" y="1584125"/>
          <a:ext cx="10207427" cy="4260849"/>
        </p:xfrm>
        <a:graphic>
          <a:graphicData uri="http://schemas.openxmlformats.org/drawingml/2006/table">
            <a:tbl>
              <a:tblPr/>
              <a:tblGrid>
                <a:gridCol w="11565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1942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endParaRPr kumimoji="0" lang="en-US" sz="1100" b="0" i="1" u="none" strike="noStrike" cap="none" normalizeH="0" baseline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</a:endParaRP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71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..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9141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9383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3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889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4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793448703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 Strategy Slide - Intro Text, Bullets and On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3415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548877" y="1568107"/>
            <a:ext cx="4324035" cy="4411663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ONE GRAPH/CHART AND TEXT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7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52445063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. Strategy Slide - 2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3314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WO GRAPHS/CHART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36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7"/>
            <a:ext cx="5116786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45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6198550" y="1876657"/>
            <a:ext cx="5116786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8549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198550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878251412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. Strategy Slide - 3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6477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1225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GRAPHS/CHART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40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6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4379234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7923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9" name="Chart Placeholder 4"/>
          <p:cNvSpPr>
            <a:spLocks noGrp="1"/>
          </p:cNvSpPr>
          <p:nvPr>
            <p:ph type="chart" sz="quarter" idx="18" hasCustomPrompt="1"/>
          </p:nvPr>
        </p:nvSpPr>
        <p:spPr>
          <a:xfrm>
            <a:off x="8046320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046319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715236958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. Strategy Slide - 6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5445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362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GRAPHS/CHART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40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8"/>
            <a:ext cx="3167517" cy="16417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6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4379234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9" name="Chart Placeholder 4"/>
          <p:cNvSpPr>
            <a:spLocks noGrp="1"/>
          </p:cNvSpPr>
          <p:nvPr>
            <p:ph type="chart" sz="quarter" idx="18" hasCustomPrompt="1"/>
          </p:nvPr>
        </p:nvSpPr>
        <p:spPr>
          <a:xfrm>
            <a:off x="8046320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8" name="Chart Placeholder 4"/>
          <p:cNvSpPr>
            <a:spLocks noGrp="1"/>
          </p:cNvSpPr>
          <p:nvPr>
            <p:ph type="chart" sz="quarter" idx="21" hasCustomPrompt="1"/>
          </p:nvPr>
        </p:nvSpPr>
        <p:spPr>
          <a:xfrm>
            <a:off x="725214" y="4293286"/>
            <a:ext cx="3167517" cy="16417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2521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23" hasCustomPrompt="1"/>
          </p:nvPr>
        </p:nvSpPr>
        <p:spPr>
          <a:xfrm>
            <a:off x="4379234" y="429328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7923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2" name="Chart Placeholder 4"/>
          <p:cNvSpPr>
            <a:spLocks noGrp="1"/>
          </p:cNvSpPr>
          <p:nvPr>
            <p:ph type="chart" sz="quarter" idx="25" hasCustomPrompt="1"/>
          </p:nvPr>
        </p:nvSpPr>
        <p:spPr>
          <a:xfrm>
            <a:off x="8046320" y="429328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046320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725214" y="3735977"/>
            <a:ext cx="1048862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424560889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. Strategy Slide - Table 9 Rows /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9690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78" imgH="377" progId="TCLayout.ActiveDocument.1">
                  <p:embed/>
                </p:oleObj>
              </mc:Choice>
              <mc:Fallback>
                <p:oleObj name="Diapositiva de think-cell" r:id="rId5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349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ABLE 9 ROWS AND 9 COLUMNS</a:t>
            </a:r>
          </a:p>
        </p:txBody>
      </p:sp>
      <p:graphicFrame>
        <p:nvGraphicFramePr>
          <p:cNvPr id="33" name="Group 3"/>
          <p:cNvGraphicFramePr>
            <a:graphicFrameLocks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04266037"/>
              </p:ext>
            </p:extLst>
          </p:nvPr>
        </p:nvGraphicFramePr>
        <p:xfrm>
          <a:off x="783770" y="1534944"/>
          <a:ext cx="10377812" cy="4317034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16969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3161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1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34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5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6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699157064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. Strategy Slide - Table 4 Rows /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5703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78" imgH="377" progId="TCLayout.ActiveDocument.1">
                  <p:embed/>
                </p:oleObj>
              </mc:Choice>
              <mc:Fallback>
                <p:oleObj name="Diapositiva de think-cell" r:id="rId5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511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ABLE 3 COLUMNS 4 ROWS</a:t>
            </a:r>
          </a:p>
        </p:txBody>
      </p:sp>
      <p:graphicFrame>
        <p:nvGraphicFramePr>
          <p:cNvPr id="34" name="Group 4"/>
          <p:cNvGraphicFramePr>
            <a:graphicFrameLocks noGrp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03360999"/>
              </p:ext>
            </p:extLst>
          </p:nvPr>
        </p:nvGraphicFramePr>
        <p:xfrm>
          <a:off x="954157" y="1584125"/>
          <a:ext cx="10207427" cy="4260849"/>
        </p:xfrm>
        <a:graphic>
          <a:graphicData uri="http://schemas.openxmlformats.org/drawingml/2006/table">
            <a:tbl>
              <a:tblPr/>
              <a:tblGrid>
                <a:gridCol w="11565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1942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endParaRPr kumimoji="0" lang="en-US" sz="1100" b="0" i="1" u="none" strike="noStrike" cap="none" normalizeH="0" baseline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</a:endParaRP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71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..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9141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9383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3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889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4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884359407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. Strategy Slide - 1 Tab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549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4" hasCustomPrompt="1"/>
          </p:nvPr>
        </p:nvSpPr>
        <p:spPr>
          <a:xfrm>
            <a:off x="7547605" y="1568107"/>
            <a:ext cx="4325307" cy="441166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033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ONE TABLE AND TEXT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7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067003488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. Strategy Slide - 2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6509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WO TABLE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8549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198550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15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725213" y="1876657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6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6198548" y="1876657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706718953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. Strategy Slide - 3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0689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TABLE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7923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046319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8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725213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9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4379232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0" name="Table Placeholder 5"/>
          <p:cNvSpPr>
            <a:spLocks noGrp="1"/>
          </p:cNvSpPr>
          <p:nvPr>
            <p:ph type="tbl" sz="quarter" idx="23" hasCustomPrompt="1"/>
          </p:nvPr>
        </p:nvSpPr>
        <p:spPr>
          <a:xfrm>
            <a:off x="8033882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080288504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. Strategy Slide - 6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55365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67971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TABLES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2521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7923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046320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725214" y="3735977"/>
            <a:ext cx="1048862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able Placeholder 5"/>
          <p:cNvSpPr>
            <a:spLocks noGrp="1"/>
          </p:cNvSpPr>
          <p:nvPr>
            <p:ph type="tbl" sz="quarter" idx="27" hasCustomPrompt="1"/>
          </p:nvPr>
        </p:nvSpPr>
        <p:spPr>
          <a:xfrm>
            <a:off x="725213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5" name="Table Placeholder 5"/>
          <p:cNvSpPr>
            <a:spLocks noGrp="1"/>
          </p:cNvSpPr>
          <p:nvPr>
            <p:ph type="tbl" sz="quarter" idx="28" hasCustomPrompt="1"/>
          </p:nvPr>
        </p:nvSpPr>
        <p:spPr>
          <a:xfrm>
            <a:off x="4379233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6" name="Table Placeholder 5"/>
          <p:cNvSpPr>
            <a:spLocks noGrp="1"/>
          </p:cNvSpPr>
          <p:nvPr>
            <p:ph type="tbl" sz="quarter" idx="29" hasCustomPrompt="1"/>
          </p:nvPr>
        </p:nvSpPr>
        <p:spPr>
          <a:xfrm>
            <a:off x="8046320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7" name="Table Placeholder 5"/>
          <p:cNvSpPr>
            <a:spLocks noGrp="1"/>
          </p:cNvSpPr>
          <p:nvPr>
            <p:ph type="tbl" sz="quarter" idx="30" hasCustomPrompt="1"/>
          </p:nvPr>
        </p:nvSpPr>
        <p:spPr>
          <a:xfrm>
            <a:off x="725213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8" name="Table Placeholder 5"/>
          <p:cNvSpPr>
            <a:spLocks noGrp="1"/>
          </p:cNvSpPr>
          <p:nvPr>
            <p:ph type="tbl" sz="quarter" idx="31" hasCustomPrompt="1"/>
          </p:nvPr>
        </p:nvSpPr>
        <p:spPr>
          <a:xfrm>
            <a:off x="4379233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9" name="Table Placeholder 5"/>
          <p:cNvSpPr>
            <a:spLocks noGrp="1"/>
          </p:cNvSpPr>
          <p:nvPr>
            <p:ph type="tbl" sz="quarter" idx="32" hasCustomPrompt="1"/>
          </p:nvPr>
        </p:nvSpPr>
        <p:spPr>
          <a:xfrm>
            <a:off x="8046320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6146876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. Strategy Slide - 1 Tab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4131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4" hasCustomPrompt="1"/>
          </p:nvPr>
        </p:nvSpPr>
        <p:spPr>
          <a:xfrm>
            <a:off x="7547605" y="1568107"/>
            <a:ext cx="4325307" cy="441166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033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ONE TABLE AND TEXT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7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525103860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. Strategy Slide - Process Closed Lo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81195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472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PROCESS CLOSED LOOP WITH INTRO TEXT AND BULLETS</a:t>
            </a:r>
          </a:p>
        </p:txBody>
      </p:sp>
      <p:grpSp>
        <p:nvGrpSpPr>
          <p:cNvPr id="33" name="Group 32"/>
          <p:cNvGrpSpPr/>
          <p:nvPr userDrawn="1"/>
        </p:nvGrpSpPr>
        <p:grpSpPr>
          <a:xfrm>
            <a:off x="6152742" y="1530826"/>
            <a:ext cx="5205413" cy="4535487"/>
            <a:chOff x="1905000" y="1773238"/>
            <a:chExt cx="5205413" cy="4535487"/>
          </a:xfrm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34" name="Freeform 33"/>
            <p:cNvSpPr>
              <a:spLocks/>
            </p:cNvSpPr>
            <p:nvPr/>
          </p:nvSpPr>
          <p:spPr bwMode="blackWhite">
            <a:xfrm>
              <a:off x="5729288" y="3216275"/>
              <a:ext cx="1381125" cy="1874838"/>
            </a:xfrm>
            <a:custGeom>
              <a:avLst/>
              <a:gdLst>
                <a:gd name="T0" fmla="*/ 461616 w 852"/>
                <a:gd name="T1" fmla="*/ 1873218 h 1157"/>
                <a:gd name="T2" fmla="*/ 1493670 w 852"/>
                <a:gd name="T3" fmla="*/ 1852152 h 1157"/>
                <a:gd name="T4" fmla="*/ 1172469 w 852"/>
                <a:gd name="T5" fmla="*/ 1672284 h 1157"/>
                <a:gd name="T6" fmla="*/ 1233901 w 852"/>
                <a:gd name="T7" fmla="*/ 1552372 h 1157"/>
                <a:gd name="T8" fmla="*/ 1286557 w 852"/>
                <a:gd name="T9" fmla="*/ 1429219 h 1157"/>
                <a:gd name="T10" fmla="*/ 1330437 w 852"/>
                <a:gd name="T11" fmla="*/ 1302826 h 1157"/>
                <a:gd name="T12" fmla="*/ 1360275 w 852"/>
                <a:gd name="T13" fmla="*/ 1171571 h 1157"/>
                <a:gd name="T14" fmla="*/ 1386603 w 852"/>
                <a:gd name="T15" fmla="*/ 1040316 h 1157"/>
                <a:gd name="T16" fmla="*/ 1400645 w 852"/>
                <a:gd name="T17" fmla="*/ 909061 h 1157"/>
                <a:gd name="T18" fmla="*/ 1405910 w 852"/>
                <a:gd name="T19" fmla="*/ 774566 h 1157"/>
                <a:gd name="T20" fmla="*/ 1400645 w 852"/>
                <a:gd name="T21" fmla="*/ 640070 h 1157"/>
                <a:gd name="T22" fmla="*/ 1384848 w 852"/>
                <a:gd name="T23" fmla="*/ 508815 h 1157"/>
                <a:gd name="T24" fmla="*/ 1360275 w 852"/>
                <a:gd name="T25" fmla="*/ 377560 h 1157"/>
                <a:gd name="T26" fmla="*/ 1326926 w 852"/>
                <a:gd name="T27" fmla="*/ 247926 h 1157"/>
                <a:gd name="T28" fmla="*/ 1281291 w 852"/>
                <a:gd name="T29" fmla="*/ 121532 h 1157"/>
                <a:gd name="T30" fmla="*/ 1230391 w 852"/>
                <a:gd name="T31" fmla="*/ 0 h 1157"/>
                <a:gd name="T32" fmla="*/ 956581 w 852"/>
                <a:gd name="T33" fmla="*/ 479647 h 1157"/>
                <a:gd name="T34" fmla="*/ 365080 w 852"/>
                <a:gd name="T35" fmla="*/ 471545 h 1157"/>
                <a:gd name="T36" fmla="*/ 389653 w 852"/>
                <a:gd name="T37" fmla="*/ 559048 h 1157"/>
                <a:gd name="T38" fmla="*/ 405450 w 852"/>
                <a:gd name="T39" fmla="*/ 651413 h 1157"/>
                <a:gd name="T40" fmla="*/ 412470 w 852"/>
                <a:gd name="T41" fmla="*/ 743777 h 1157"/>
                <a:gd name="T42" fmla="*/ 410715 w 852"/>
                <a:gd name="T43" fmla="*/ 832901 h 1157"/>
                <a:gd name="T44" fmla="*/ 401939 w 852"/>
                <a:gd name="T45" fmla="*/ 925266 h 1157"/>
                <a:gd name="T46" fmla="*/ 380877 w 852"/>
                <a:gd name="T47" fmla="*/ 1016010 h 1157"/>
                <a:gd name="T48" fmla="*/ 356304 w 852"/>
                <a:gd name="T49" fmla="*/ 1106754 h 1157"/>
                <a:gd name="T50" fmla="*/ 317690 w 852"/>
                <a:gd name="T51" fmla="*/ 1189396 h 1157"/>
                <a:gd name="T52" fmla="*/ 0 w 852"/>
                <a:gd name="T53" fmla="*/ 1017630 h 1157"/>
                <a:gd name="T54" fmla="*/ 461616 w 852"/>
                <a:gd name="T55" fmla="*/ 1873218 h 115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852"/>
                <a:gd name="T85" fmla="*/ 0 h 1157"/>
                <a:gd name="T86" fmla="*/ 852 w 852"/>
                <a:gd name="T87" fmla="*/ 1157 h 115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852" h="1157">
                  <a:moveTo>
                    <a:pt x="263" y="1156"/>
                  </a:moveTo>
                  <a:lnTo>
                    <a:pt x="851" y="1143"/>
                  </a:lnTo>
                  <a:lnTo>
                    <a:pt x="668" y="1032"/>
                  </a:lnTo>
                  <a:lnTo>
                    <a:pt x="703" y="958"/>
                  </a:lnTo>
                  <a:lnTo>
                    <a:pt x="733" y="882"/>
                  </a:lnTo>
                  <a:lnTo>
                    <a:pt x="758" y="804"/>
                  </a:lnTo>
                  <a:lnTo>
                    <a:pt x="775" y="723"/>
                  </a:lnTo>
                  <a:lnTo>
                    <a:pt x="790" y="642"/>
                  </a:lnTo>
                  <a:lnTo>
                    <a:pt x="798" y="561"/>
                  </a:lnTo>
                  <a:lnTo>
                    <a:pt x="801" y="478"/>
                  </a:lnTo>
                  <a:lnTo>
                    <a:pt x="798" y="395"/>
                  </a:lnTo>
                  <a:lnTo>
                    <a:pt x="789" y="314"/>
                  </a:lnTo>
                  <a:lnTo>
                    <a:pt x="775" y="233"/>
                  </a:lnTo>
                  <a:lnTo>
                    <a:pt x="756" y="153"/>
                  </a:lnTo>
                  <a:lnTo>
                    <a:pt x="730" y="75"/>
                  </a:lnTo>
                  <a:lnTo>
                    <a:pt x="701" y="0"/>
                  </a:lnTo>
                  <a:lnTo>
                    <a:pt x="545" y="296"/>
                  </a:lnTo>
                  <a:lnTo>
                    <a:pt x="208" y="291"/>
                  </a:lnTo>
                  <a:lnTo>
                    <a:pt x="222" y="345"/>
                  </a:lnTo>
                  <a:lnTo>
                    <a:pt x="231" y="402"/>
                  </a:lnTo>
                  <a:lnTo>
                    <a:pt x="235" y="459"/>
                  </a:lnTo>
                  <a:lnTo>
                    <a:pt x="234" y="514"/>
                  </a:lnTo>
                  <a:lnTo>
                    <a:pt x="229" y="571"/>
                  </a:lnTo>
                  <a:lnTo>
                    <a:pt x="217" y="627"/>
                  </a:lnTo>
                  <a:lnTo>
                    <a:pt x="203" y="683"/>
                  </a:lnTo>
                  <a:lnTo>
                    <a:pt x="181" y="734"/>
                  </a:lnTo>
                  <a:lnTo>
                    <a:pt x="0" y="628"/>
                  </a:lnTo>
                  <a:lnTo>
                    <a:pt x="263" y="1156"/>
                  </a:lnTo>
                </a:path>
              </a:pathLst>
            </a:custGeom>
            <a:solidFill>
              <a:schemeClr val="accent3"/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blackWhite">
            <a:xfrm>
              <a:off x="5221288" y="2070100"/>
              <a:ext cx="1797050" cy="1557338"/>
            </a:xfrm>
            <a:custGeom>
              <a:avLst/>
              <a:gdLst>
                <a:gd name="T0" fmla="*/ 2147483647 w 1109"/>
                <a:gd name="T1" fmla="*/ 2147483647 h 962"/>
                <a:gd name="T2" fmla="*/ 2147483647 w 1109"/>
                <a:gd name="T3" fmla="*/ 2147483647 h 962"/>
                <a:gd name="T4" fmla="*/ 2147483647 w 1109"/>
                <a:gd name="T5" fmla="*/ 2147483647 h 962"/>
                <a:gd name="T6" fmla="*/ 2147483647 w 1109"/>
                <a:gd name="T7" fmla="*/ 2147483647 h 962"/>
                <a:gd name="T8" fmla="*/ 2147483647 w 1109"/>
                <a:gd name="T9" fmla="*/ 2147483647 h 962"/>
                <a:gd name="T10" fmla="*/ 2147483647 w 1109"/>
                <a:gd name="T11" fmla="*/ 2147483647 h 962"/>
                <a:gd name="T12" fmla="*/ 2147483647 w 1109"/>
                <a:gd name="T13" fmla="*/ 2147483647 h 962"/>
                <a:gd name="T14" fmla="*/ 2147483647 w 1109"/>
                <a:gd name="T15" fmla="*/ 2147483647 h 962"/>
                <a:gd name="T16" fmla="*/ 2147483647 w 1109"/>
                <a:gd name="T17" fmla="*/ 2147483647 h 962"/>
                <a:gd name="T18" fmla="*/ 2147483647 w 1109"/>
                <a:gd name="T19" fmla="*/ 2147483647 h 962"/>
                <a:gd name="T20" fmla="*/ 2147483647 w 1109"/>
                <a:gd name="T21" fmla="*/ 2147483647 h 962"/>
                <a:gd name="T22" fmla="*/ 2147483647 w 1109"/>
                <a:gd name="T23" fmla="*/ 2147483647 h 962"/>
                <a:gd name="T24" fmla="*/ 2147483647 w 1109"/>
                <a:gd name="T25" fmla="*/ 2147483647 h 962"/>
                <a:gd name="T26" fmla="*/ 2147483647 w 1109"/>
                <a:gd name="T27" fmla="*/ 2147483647 h 962"/>
                <a:gd name="T28" fmla="*/ 2147483647 w 1109"/>
                <a:gd name="T29" fmla="*/ 2147483647 h 962"/>
                <a:gd name="T30" fmla="*/ 2147483647 w 1109"/>
                <a:gd name="T31" fmla="*/ 2147483647 h 962"/>
                <a:gd name="T32" fmla="*/ 2147483647 w 1109"/>
                <a:gd name="T33" fmla="*/ 2147483647 h 962"/>
                <a:gd name="T34" fmla="*/ 2147483647 w 1109"/>
                <a:gd name="T35" fmla="*/ 2147483647 h 962"/>
                <a:gd name="T36" fmla="*/ 2147483647 w 1109"/>
                <a:gd name="T37" fmla="*/ 2147483647 h 962"/>
                <a:gd name="T38" fmla="*/ 0 w 1109"/>
                <a:gd name="T39" fmla="*/ 0 h 962"/>
                <a:gd name="T40" fmla="*/ 2147483647 w 1109"/>
                <a:gd name="T41" fmla="*/ 2147483647 h 962"/>
                <a:gd name="T42" fmla="*/ 2147483647 w 1109"/>
                <a:gd name="T43" fmla="*/ 2147483647 h 962"/>
                <a:gd name="T44" fmla="*/ 2147483647 w 1109"/>
                <a:gd name="T45" fmla="*/ 2147483647 h 962"/>
                <a:gd name="T46" fmla="*/ 2147483647 w 1109"/>
                <a:gd name="T47" fmla="*/ 2147483647 h 962"/>
                <a:gd name="T48" fmla="*/ 2147483647 w 1109"/>
                <a:gd name="T49" fmla="*/ 2147483647 h 962"/>
                <a:gd name="T50" fmla="*/ 2147483647 w 1109"/>
                <a:gd name="T51" fmla="*/ 2147483647 h 962"/>
                <a:gd name="T52" fmla="*/ 2147483647 w 1109"/>
                <a:gd name="T53" fmla="*/ 2147483647 h 962"/>
                <a:gd name="T54" fmla="*/ 2147483647 w 1109"/>
                <a:gd name="T55" fmla="*/ 2147483647 h 962"/>
                <a:gd name="T56" fmla="*/ 2147483647 w 1109"/>
                <a:gd name="T57" fmla="*/ 2147483647 h 962"/>
                <a:gd name="T58" fmla="*/ 2147483647 w 1109"/>
                <a:gd name="T59" fmla="*/ 2147483647 h 962"/>
                <a:gd name="T60" fmla="*/ 2147483647 w 1109"/>
                <a:gd name="T61" fmla="*/ 2147483647 h 9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109"/>
                <a:gd name="T94" fmla="*/ 0 h 962"/>
                <a:gd name="T95" fmla="*/ 1109 w 1109"/>
                <a:gd name="T96" fmla="*/ 962 h 9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109" h="962">
                  <a:moveTo>
                    <a:pt x="246" y="959"/>
                  </a:moveTo>
                  <a:lnTo>
                    <a:pt x="839" y="961"/>
                  </a:lnTo>
                  <a:lnTo>
                    <a:pt x="934" y="786"/>
                  </a:lnTo>
                  <a:lnTo>
                    <a:pt x="1023" y="611"/>
                  </a:lnTo>
                  <a:lnTo>
                    <a:pt x="1108" y="429"/>
                  </a:lnTo>
                  <a:lnTo>
                    <a:pt x="930" y="539"/>
                  </a:lnTo>
                  <a:lnTo>
                    <a:pt x="885" y="471"/>
                  </a:lnTo>
                  <a:lnTo>
                    <a:pt x="837" y="406"/>
                  </a:lnTo>
                  <a:lnTo>
                    <a:pt x="783" y="344"/>
                  </a:lnTo>
                  <a:lnTo>
                    <a:pt x="724" y="287"/>
                  </a:lnTo>
                  <a:lnTo>
                    <a:pt x="663" y="235"/>
                  </a:lnTo>
                  <a:lnTo>
                    <a:pt x="598" y="188"/>
                  </a:lnTo>
                  <a:lnTo>
                    <a:pt x="530" y="145"/>
                  </a:lnTo>
                  <a:lnTo>
                    <a:pt x="460" y="107"/>
                  </a:lnTo>
                  <a:lnTo>
                    <a:pt x="387" y="75"/>
                  </a:lnTo>
                  <a:lnTo>
                    <a:pt x="311" y="48"/>
                  </a:lnTo>
                  <a:lnTo>
                    <a:pt x="236" y="27"/>
                  </a:lnTo>
                  <a:lnTo>
                    <a:pt x="158" y="12"/>
                  </a:lnTo>
                  <a:lnTo>
                    <a:pt x="79" y="2"/>
                  </a:lnTo>
                  <a:lnTo>
                    <a:pt x="0" y="0"/>
                  </a:lnTo>
                  <a:lnTo>
                    <a:pt x="210" y="277"/>
                  </a:lnTo>
                  <a:lnTo>
                    <a:pt x="80" y="601"/>
                  </a:lnTo>
                  <a:lnTo>
                    <a:pt x="134" y="614"/>
                  </a:lnTo>
                  <a:lnTo>
                    <a:pt x="186" y="631"/>
                  </a:lnTo>
                  <a:lnTo>
                    <a:pt x="236" y="654"/>
                  </a:lnTo>
                  <a:lnTo>
                    <a:pt x="283" y="681"/>
                  </a:lnTo>
                  <a:lnTo>
                    <a:pt x="328" y="715"/>
                  </a:lnTo>
                  <a:lnTo>
                    <a:pt x="370" y="752"/>
                  </a:lnTo>
                  <a:lnTo>
                    <a:pt x="408" y="792"/>
                  </a:lnTo>
                  <a:lnTo>
                    <a:pt x="446" y="837"/>
                  </a:lnTo>
                  <a:lnTo>
                    <a:pt x="246" y="959"/>
                  </a:lnTo>
                </a:path>
              </a:pathLst>
            </a:custGeom>
            <a:solidFill>
              <a:schemeClr val="accent3">
                <a:lumMod val="75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/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blackWhite">
            <a:xfrm>
              <a:off x="1905000" y="1773238"/>
              <a:ext cx="3573463" cy="1779587"/>
            </a:xfrm>
            <a:custGeom>
              <a:avLst/>
              <a:gdLst>
                <a:gd name="T0" fmla="*/ 0 w 2206"/>
                <a:gd name="T1" fmla="*/ 2147483647 h 1099"/>
                <a:gd name="T2" fmla="*/ 2147483647 w 2206"/>
                <a:gd name="T3" fmla="*/ 2147483647 h 1099"/>
                <a:gd name="T4" fmla="*/ 2147483647 w 2206"/>
                <a:gd name="T5" fmla="*/ 2147483647 h 1099"/>
                <a:gd name="T6" fmla="*/ 2147483647 w 2206"/>
                <a:gd name="T7" fmla="*/ 2147483647 h 1099"/>
                <a:gd name="T8" fmla="*/ 2147483647 w 2206"/>
                <a:gd name="T9" fmla="*/ 2147483647 h 1099"/>
                <a:gd name="T10" fmla="*/ 2147483647 w 2206"/>
                <a:gd name="T11" fmla="*/ 2147483647 h 1099"/>
                <a:gd name="T12" fmla="*/ 2147483647 w 2206"/>
                <a:gd name="T13" fmla="*/ 2147483647 h 1099"/>
                <a:gd name="T14" fmla="*/ 2147483647 w 2206"/>
                <a:gd name="T15" fmla="*/ 2147483647 h 1099"/>
                <a:gd name="T16" fmla="*/ 2147483647 w 2206"/>
                <a:gd name="T17" fmla="*/ 2147483647 h 1099"/>
                <a:gd name="T18" fmla="*/ 2147483647 w 2206"/>
                <a:gd name="T19" fmla="*/ 2147483647 h 1099"/>
                <a:gd name="T20" fmla="*/ 2147483647 w 2206"/>
                <a:gd name="T21" fmla="*/ 2147483647 h 1099"/>
                <a:gd name="T22" fmla="*/ 2147483647 w 2206"/>
                <a:gd name="T23" fmla="*/ 2147483647 h 1099"/>
                <a:gd name="T24" fmla="*/ 2147483647 w 2206"/>
                <a:gd name="T25" fmla="*/ 2147483647 h 1099"/>
                <a:gd name="T26" fmla="*/ 2147483647 w 2206"/>
                <a:gd name="T27" fmla="*/ 2147483647 h 1099"/>
                <a:gd name="T28" fmla="*/ 2147483647 w 2206"/>
                <a:gd name="T29" fmla="*/ 0 h 1099"/>
                <a:gd name="T30" fmla="*/ 2147483647 w 2206"/>
                <a:gd name="T31" fmla="*/ 2147483647 h 1099"/>
                <a:gd name="T32" fmla="*/ 0 w 2206"/>
                <a:gd name="T33" fmla="*/ 2147483647 h 1099"/>
                <a:gd name="T34" fmla="*/ 0 w 2206"/>
                <a:gd name="T35" fmla="*/ 2147483647 h 109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206"/>
                <a:gd name="T55" fmla="*/ 0 h 1099"/>
                <a:gd name="T56" fmla="*/ 2206 w 2206"/>
                <a:gd name="T57" fmla="*/ 1099 h 109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206" h="1099">
                  <a:moveTo>
                    <a:pt x="0" y="864"/>
                  </a:moveTo>
                  <a:lnTo>
                    <a:pt x="1339" y="864"/>
                  </a:lnTo>
                  <a:lnTo>
                    <a:pt x="1552" y="1098"/>
                  </a:lnTo>
                  <a:lnTo>
                    <a:pt x="1587" y="1045"/>
                  </a:lnTo>
                  <a:lnTo>
                    <a:pt x="1625" y="996"/>
                  </a:lnTo>
                  <a:lnTo>
                    <a:pt x="1666" y="948"/>
                  </a:lnTo>
                  <a:lnTo>
                    <a:pt x="1711" y="906"/>
                  </a:lnTo>
                  <a:lnTo>
                    <a:pt x="1754" y="872"/>
                  </a:lnTo>
                  <a:lnTo>
                    <a:pt x="1800" y="845"/>
                  </a:lnTo>
                  <a:lnTo>
                    <a:pt x="1850" y="822"/>
                  </a:lnTo>
                  <a:lnTo>
                    <a:pt x="1900" y="803"/>
                  </a:lnTo>
                  <a:lnTo>
                    <a:pt x="1953" y="790"/>
                  </a:lnTo>
                  <a:lnTo>
                    <a:pt x="1983" y="1013"/>
                  </a:lnTo>
                  <a:lnTo>
                    <a:pt x="2205" y="471"/>
                  </a:lnTo>
                  <a:lnTo>
                    <a:pt x="1872" y="0"/>
                  </a:lnTo>
                  <a:lnTo>
                    <a:pt x="1873" y="196"/>
                  </a:lnTo>
                  <a:lnTo>
                    <a:pt x="0" y="196"/>
                  </a:lnTo>
                  <a:lnTo>
                    <a:pt x="0" y="864"/>
                  </a:lnTo>
                </a:path>
              </a:pathLst>
            </a:custGeom>
            <a:solidFill>
              <a:schemeClr val="accent3">
                <a:lumMod val="5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/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blackWhite">
            <a:xfrm>
              <a:off x="4867275" y="4592638"/>
              <a:ext cx="1806575" cy="1716087"/>
            </a:xfrm>
            <a:custGeom>
              <a:avLst/>
              <a:gdLst>
                <a:gd name="T0" fmla="*/ 0 w 1115"/>
                <a:gd name="T1" fmla="*/ 857233 h 1059"/>
                <a:gd name="T2" fmla="*/ 489786 w 1115"/>
                <a:gd name="T3" fmla="*/ 1714467 h 1059"/>
                <a:gd name="T4" fmla="*/ 489786 w 1115"/>
                <a:gd name="T5" fmla="*/ 1320690 h 1059"/>
                <a:gd name="T6" fmla="*/ 619693 w 1115"/>
                <a:gd name="T7" fmla="*/ 1309347 h 1059"/>
                <a:gd name="T8" fmla="*/ 753111 w 1115"/>
                <a:gd name="T9" fmla="*/ 1288280 h 1059"/>
                <a:gd name="T10" fmla="*/ 881263 w 1115"/>
                <a:gd name="T11" fmla="*/ 1259112 h 1059"/>
                <a:gd name="T12" fmla="*/ 1005904 w 1115"/>
                <a:gd name="T13" fmla="*/ 1221841 h 1059"/>
                <a:gd name="T14" fmla="*/ 1128789 w 1115"/>
                <a:gd name="T15" fmla="*/ 1176467 h 1059"/>
                <a:gd name="T16" fmla="*/ 1249919 w 1115"/>
                <a:gd name="T17" fmla="*/ 1122992 h 1059"/>
                <a:gd name="T18" fmla="*/ 1365782 w 1115"/>
                <a:gd name="T19" fmla="*/ 1061413 h 1059"/>
                <a:gd name="T20" fmla="*/ 1479890 w 1115"/>
                <a:gd name="T21" fmla="*/ 993353 h 1059"/>
                <a:gd name="T22" fmla="*/ 1581709 w 1115"/>
                <a:gd name="T23" fmla="*/ 913950 h 1059"/>
                <a:gd name="T24" fmla="*/ 1687039 w 1115"/>
                <a:gd name="T25" fmla="*/ 831306 h 1059"/>
                <a:gd name="T26" fmla="*/ 1781836 w 1115"/>
                <a:gd name="T27" fmla="*/ 738938 h 1059"/>
                <a:gd name="T28" fmla="*/ 1874878 w 1115"/>
                <a:gd name="T29" fmla="*/ 640089 h 1059"/>
                <a:gd name="T30" fmla="*/ 1955631 w 1115"/>
                <a:gd name="T31" fmla="*/ 539619 h 1059"/>
                <a:gd name="T32" fmla="*/ 1362271 w 1115"/>
                <a:gd name="T33" fmla="*/ 570408 h 1059"/>
                <a:gd name="T34" fmla="*/ 1093679 w 1115"/>
                <a:gd name="T35" fmla="*/ 58337 h 1059"/>
                <a:gd name="T36" fmla="*/ 1037503 w 1115"/>
                <a:gd name="T37" fmla="*/ 111813 h 1059"/>
                <a:gd name="T38" fmla="*/ 977816 w 1115"/>
                <a:gd name="T39" fmla="*/ 158807 h 1059"/>
                <a:gd name="T40" fmla="*/ 905840 w 1115"/>
                <a:gd name="T41" fmla="*/ 207421 h 1059"/>
                <a:gd name="T42" fmla="*/ 828598 w 1115"/>
                <a:gd name="T43" fmla="*/ 254415 h 1059"/>
                <a:gd name="T44" fmla="*/ 746089 w 1115"/>
                <a:gd name="T45" fmla="*/ 288445 h 1059"/>
                <a:gd name="T46" fmla="*/ 665336 w 1115"/>
                <a:gd name="T47" fmla="*/ 319234 h 1059"/>
                <a:gd name="T48" fmla="*/ 579316 w 1115"/>
                <a:gd name="T49" fmla="*/ 341921 h 1059"/>
                <a:gd name="T50" fmla="*/ 489786 w 1115"/>
                <a:gd name="T51" fmla="*/ 356505 h 1059"/>
                <a:gd name="T52" fmla="*/ 489786 w 1115"/>
                <a:gd name="T53" fmla="*/ 0 h 1059"/>
                <a:gd name="T54" fmla="*/ 0 w 1115"/>
                <a:gd name="T55" fmla="*/ 857233 h 1059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115"/>
                <a:gd name="T85" fmla="*/ 0 h 1059"/>
                <a:gd name="T86" fmla="*/ 1115 w 1115"/>
                <a:gd name="T87" fmla="*/ 1059 h 1059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115" h="1059">
                  <a:moveTo>
                    <a:pt x="0" y="529"/>
                  </a:moveTo>
                  <a:lnTo>
                    <a:pt x="279" y="1058"/>
                  </a:lnTo>
                  <a:lnTo>
                    <a:pt x="279" y="815"/>
                  </a:lnTo>
                  <a:lnTo>
                    <a:pt x="353" y="808"/>
                  </a:lnTo>
                  <a:lnTo>
                    <a:pt x="429" y="795"/>
                  </a:lnTo>
                  <a:lnTo>
                    <a:pt x="502" y="777"/>
                  </a:lnTo>
                  <a:lnTo>
                    <a:pt x="573" y="754"/>
                  </a:lnTo>
                  <a:lnTo>
                    <a:pt x="643" y="726"/>
                  </a:lnTo>
                  <a:lnTo>
                    <a:pt x="712" y="693"/>
                  </a:lnTo>
                  <a:lnTo>
                    <a:pt x="778" y="655"/>
                  </a:lnTo>
                  <a:lnTo>
                    <a:pt x="843" y="613"/>
                  </a:lnTo>
                  <a:lnTo>
                    <a:pt x="901" y="564"/>
                  </a:lnTo>
                  <a:lnTo>
                    <a:pt x="961" y="513"/>
                  </a:lnTo>
                  <a:lnTo>
                    <a:pt x="1015" y="456"/>
                  </a:lnTo>
                  <a:lnTo>
                    <a:pt x="1068" y="395"/>
                  </a:lnTo>
                  <a:lnTo>
                    <a:pt x="1114" y="333"/>
                  </a:lnTo>
                  <a:lnTo>
                    <a:pt x="776" y="352"/>
                  </a:lnTo>
                  <a:lnTo>
                    <a:pt x="623" y="36"/>
                  </a:lnTo>
                  <a:lnTo>
                    <a:pt x="591" y="69"/>
                  </a:lnTo>
                  <a:lnTo>
                    <a:pt x="557" y="98"/>
                  </a:lnTo>
                  <a:lnTo>
                    <a:pt x="516" y="128"/>
                  </a:lnTo>
                  <a:lnTo>
                    <a:pt x="472" y="157"/>
                  </a:lnTo>
                  <a:lnTo>
                    <a:pt x="425" y="178"/>
                  </a:lnTo>
                  <a:lnTo>
                    <a:pt x="379" y="197"/>
                  </a:lnTo>
                  <a:lnTo>
                    <a:pt x="330" y="211"/>
                  </a:lnTo>
                  <a:lnTo>
                    <a:pt x="279" y="220"/>
                  </a:lnTo>
                  <a:lnTo>
                    <a:pt x="279" y="0"/>
                  </a:lnTo>
                  <a:lnTo>
                    <a:pt x="0" y="529"/>
                  </a:ln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blackWhite">
            <a:xfrm>
              <a:off x="3294063" y="4378325"/>
              <a:ext cx="1719262" cy="1531938"/>
            </a:xfrm>
            <a:custGeom>
              <a:avLst/>
              <a:gdLst>
                <a:gd name="T0" fmla="*/ 2147483647 w 1061"/>
                <a:gd name="T1" fmla="*/ 0 h 946"/>
                <a:gd name="T2" fmla="*/ 0 w 1061"/>
                <a:gd name="T3" fmla="*/ 2147483647 h 946"/>
                <a:gd name="T4" fmla="*/ 2147483647 w 1061"/>
                <a:gd name="T5" fmla="*/ 2147483647 h 946"/>
                <a:gd name="T6" fmla="*/ 2147483647 w 1061"/>
                <a:gd name="T7" fmla="*/ 2147483647 h 946"/>
                <a:gd name="T8" fmla="*/ 2147483647 w 1061"/>
                <a:gd name="T9" fmla="*/ 2147483647 h 946"/>
                <a:gd name="T10" fmla="*/ 2147483647 w 1061"/>
                <a:gd name="T11" fmla="*/ 2147483647 h 946"/>
                <a:gd name="T12" fmla="*/ 2147483647 w 1061"/>
                <a:gd name="T13" fmla="*/ 2147483647 h 946"/>
                <a:gd name="T14" fmla="*/ 2147483647 w 1061"/>
                <a:gd name="T15" fmla="*/ 2147483647 h 946"/>
                <a:gd name="T16" fmla="*/ 2147483647 w 1061"/>
                <a:gd name="T17" fmla="*/ 2147483647 h 946"/>
                <a:gd name="T18" fmla="*/ 2147483647 w 1061"/>
                <a:gd name="T19" fmla="*/ 2147483647 h 946"/>
                <a:gd name="T20" fmla="*/ 2147483647 w 1061"/>
                <a:gd name="T21" fmla="*/ 2147483647 h 946"/>
                <a:gd name="T22" fmla="*/ 2147483647 w 1061"/>
                <a:gd name="T23" fmla="*/ 2147483647 h 946"/>
                <a:gd name="T24" fmla="*/ 2147483647 w 1061"/>
                <a:gd name="T25" fmla="*/ 2147483647 h 946"/>
                <a:gd name="T26" fmla="*/ 2147483647 w 1061"/>
                <a:gd name="T27" fmla="*/ 2147483647 h 946"/>
                <a:gd name="T28" fmla="*/ 2147483647 w 1061"/>
                <a:gd name="T29" fmla="*/ 2147483647 h 946"/>
                <a:gd name="T30" fmla="*/ 2147483647 w 1061"/>
                <a:gd name="T31" fmla="*/ 2147483647 h 946"/>
                <a:gd name="T32" fmla="*/ 2147483647 w 1061"/>
                <a:gd name="T33" fmla="*/ 2147483647 h 946"/>
                <a:gd name="T34" fmla="*/ 2147483647 w 1061"/>
                <a:gd name="T35" fmla="*/ 2147483647 h 946"/>
                <a:gd name="T36" fmla="*/ 2147483647 w 1061"/>
                <a:gd name="T37" fmla="*/ 2147483647 h 946"/>
                <a:gd name="T38" fmla="*/ 2147483647 w 1061"/>
                <a:gd name="T39" fmla="*/ 2147483647 h 946"/>
                <a:gd name="T40" fmla="*/ 2147483647 w 1061"/>
                <a:gd name="T41" fmla="*/ 2147483647 h 946"/>
                <a:gd name="T42" fmla="*/ 2147483647 w 1061"/>
                <a:gd name="T43" fmla="*/ 2147483647 h 946"/>
                <a:gd name="T44" fmla="*/ 2147483647 w 1061"/>
                <a:gd name="T45" fmla="*/ 2147483647 h 946"/>
                <a:gd name="T46" fmla="*/ 2147483647 w 1061"/>
                <a:gd name="T47" fmla="*/ 2147483647 h 946"/>
                <a:gd name="T48" fmla="*/ 2147483647 w 1061"/>
                <a:gd name="T49" fmla="*/ 2147483647 h 946"/>
                <a:gd name="T50" fmla="*/ 2147483647 w 1061"/>
                <a:gd name="T51" fmla="*/ 0 h 94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061"/>
                <a:gd name="T79" fmla="*/ 0 h 946"/>
                <a:gd name="T80" fmla="*/ 1061 w 1061"/>
                <a:gd name="T81" fmla="*/ 946 h 94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061" h="946">
                  <a:moveTo>
                    <a:pt x="372" y="0"/>
                  </a:moveTo>
                  <a:lnTo>
                    <a:pt x="0" y="477"/>
                  </a:lnTo>
                  <a:lnTo>
                    <a:pt x="207" y="395"/>
                  </a:lnTo>
                  <a:lnTo>
                    <a:pt x="252" y="466"/>
                  </a:lnTo>
                  <a:lnTo>
                    <a:pt x="302" y="531"/>
                  </a:lnTo>
                  <a:lnTo>
                    <a:pt x="354" y="592"/>
                  </a:lnTo>
                  <a:lnTo>
                    <a:pt x="410" y="649"/>
                  </a:lnTo>
                  <a:lnTo>
                    <a:pt x="471" y="703"/>
                  </a:lnTo>
                  <a:lnTo>
                    <a:pt x="535" y="751"/>
                  </a:lnTo>
                  <a:lnTo>
                    <a:pt x="602" y="795"/>
                  </a:lnTo>
                  <a:lnTo>
                    <a:pt x="670" y="833"/>
                  </a:lnTo>
                  <a:lnTo>
                    <a:pt x="745" y="867"/>
                  </a:lnTo>
                  <a:lnTo>
                    <a:pt x="818" y="894"/>
                  </a:lnTo>
                  <a:lnTo>
                    <a:pt x="894" y="917"/>
                  </a:lnTo>
                  <a:lnTo>
                    <a:pt x="970" y="934"/>
                  </a:lnTo>
                  <a:lnTo>
                    <a:pt x="1048" y="945"/>
                  </a:lnTo>
                  <a:lnTo>
                    <a:pt x="896" y="669"/>
                  </a:lnTo>
                  <a:lnTo>
                    <a:pt x="1060" y="347"/>
                  </a:lnTo>
                  <a:lnTo>
                    <a:pt x="1004" y="334"/>
                  </a:lnTo>
                  <a:lnTo>
                    <a:pt x="951" y="315"/>
                  </a:lnTo>
                  <a:lnTo>
                    <a:pt x="898" y="290"/>
                  </a:lnTo>
                  <a:lnTo>
                    <a:pt x="850" y="260"/>
                  </a:lnTo>
                  <a:lnTo>
                    <a:pt x="802" y="223"/>
                  </a:lnTo>
                  <a:lnTo>
                    <a:pt x="761" y="184"/>
                  </a:lnTo>
                  <a:lnTo>
                    <a:pt x="938" y="113"/>
                  </a:lnTo>
                  <a:lnTo>
                    <a:pt x="372" y="0"/>
                  </a:lnTo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blackWhite">
            <a:xfrm>
              <a:off x="3134390" y="3065463"/>
              <a:ext cx="1531273" cy="1709737"/>
            </a:xfrm>
            <a:custGeom>
              <a:avLst/>
              <a:gdLst>
                <a:gd name="T0" fmla="*/ 2147483647 w 866"/>
                <a:gd name="T1" fmla="*/ 0 h 1055"/>
                <a:gd name="T2" fmla="*/ 0 w 866"/>
                <a:gd name="T3" fmla="*/ 2147483647 h 1055"/>
                <a:gd name="T4" fmla="*/ 2147483647 w 866"/>
                <a:gd name="T5" fmla="*/ 2147483647 h 1055"/>
                <a:gd name="T6" fmla="*/ 2147483647 w 866"/>
                <a:gd name="T7" fmla="*/ 2147483647 h 1055"/>
                <a:gd name="T8" fmla="*/ 2147483647 w 866"/>
                <a:gd name="T9" fmla="*/ 2147483647 h 1055"/>
                <a:gd name="T10" fmla="*/ 2147483647 w 866"/>
                <a:gd name="T11" fmla="*/ 2147483647 h 1055"/>
                <a:gd name="T12" fmla="*/ 2147483647 w 866"/>
                <a:gd name="T13" fmla="*/ 2147483647 h 1055"/>
                <a:gd name="T14" fmla="*/ 2147483647 w 866"/>
                <a:gd name="T15" fmla="*/ 2147483647 h 1055"/>
                <a:gd name="T16" fmla="*/ 2147483647 w 866"/>
                <a:gd name="T17" fmla="*/ 2147483647 h 1055"/>
                <a:gd name="T18" fmla="*/ 2147483647 w 866"/>
                <a:gd name="T19" fmla="*/ 2147483647 h 1055"/>
                <a:gd name="T20" fmla="*/ 2147483647 w 866"/>
                <a:gd name="T21" fmla="*/ 2147483647 h 1055"/>
                <a:gd name="T22" fmla="*/ 2147483647 w 866"/>
                <a:gd name="T23" fmla="*/ 2147483647 h 1055"/>
                <a:gd name="T24" fmla="*/ 2147483647 w 866"/>
                <a:gd name="T25" fmla="*/ 2147483647 h 1055"/>
                <a:gd name="T26" fmla="*/ 2147483647 w 866"/>
                <a:gd name="T27" fmla="*/ 2147483647 h 1055"/>
                <a:gd name="T28" fmla="*/ 2147483647 w 866"/>
                <a:gd name="T29" fmla="*/ 2147483647 h 1055"/>
                <a:gd name="T30" fmla="*/ 2147483647 w 866"/>
                <a:gd name="T31" fmla="*/ 2147483647 h 1055"/>
                <a:gd name="T32" fmla="*/ 2147483647 w 866"/>
                <a:gd name="T33" fmla="*/ 2147483647 h 1055"/>
                <a:gd name="T34" fmla="*/ 2147483647 w 866"/>
                <a:gd name="T35" fmla="*/ 2147483647 h 1055"/>
                <a:gd name="T36" fmla="*/ 2147483647 w 866"/>
                <a:gd name="T37" fmla="*/ 2147483647 h 1055"/>
                <a:gd name="T38" fmla="*/ 2147483647 w 866"/>
                <a:gd name="T39" fmla="*/ 2147483647 h 1055"/>
                <a:gd name="T40" fmla="*/ 2147483647 w 866"/>
                <a:gd name="T41" fmla="*/ 2147483647 h 1055"/>
                <a:gd name="T42" fmla="*/ 2147483647 w 866"/>
                <a:gd name="T43" fmla="*/ 2147483647 h 1055"/>
                <a:gd name="T44" fmla="*/ 2147483647 w 866"/>
                <a:gd name="T45" fmla="*/ 2147483647 h 1055"/>
                <a:gd name="T46" fmla="*/ 2147483647 w 866"/>
                <a:gd name="T47" fmla="*/ 2147483647 h 1055"/>
                <a:gd name="T48" fmla="*/ 2147483647 w 866"/>
                <a:gd name="T49" fmla="*/ 2147483647 h 1055"/>
                <a:gd name="T50" fmla="*/ 2147483647 w 866"/>
                <a:gd name="T51" fmla="*/ 0 h 105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866"/>
                <a:gd name="T79" fmla="*/ 0 h 1055"/>
                <a:gd name="T80" fmla="*/ 866 w 866"/>
                <a:gd name="T81" fmla="*/ 1055 h 1055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866" h="1055">
                  <a:moveTo>
                    <a:pt x="571" y="0"/>
                  </a:moveTo>
                  <a:lnTo>
                    <a:pt x="0" y="1"/>
                  </a:lnTo>
                  <a:lnTo>
                    <a:pt x="178" y="111"/>
                  </a:lnTo>
                  <a:lnTo>
                    <a:pt x="153" y="187"/>
                  </a:lnTo>
                  <a:lnTo>
                    <a:pt x="130" y="264"/>
                  </a:lnTo>
                  <a:lnTo>
                    <a:pt x="113" y="343"/>
                  </a:lnTo>
                  <a:lnTo>
                    <a:pt x="100" y="423"/>
                  </a:lnTo>
                  <a:lnTo>
                    <a:pt x="94" y="504"/>
                  </a:lnTo>
                  <a:lnTo>
                    <a:pt x="93" y="583"/>
                  </a:lnTo>
                  <a:lnTo>
                    <a:pt x="95" y="664"/>
                  </a:lnTo>
                  <a:lnTo>
                    <a:pt x="104" y="744"/>
                  </a:lnTo>
                  <a:lnTo>
                    <a:pt x="118" y="824"/>
                  </a:lnTo>
                  <a:lnTo>
                    <a:pt x="136" y="903"/>
                  </a:lnTo>
                  <a:lnTo>
                    <a:pt x="159" y="979"/>
                  </a:lnTo>
                  <a:lnTo>
                    <a:pt x="189" y="1054"/>
                  </a:lnTo>
                  <a:lnTo>
                    <a:pt x="412" y="766"/>
                  </a:lnTo>
                  <a:lnTo>
                    <a:pt x="702" y="816"/>
                  </a:lnTo>
                  <a:lnTo>
                    <a:pt x="681" y="760"/>
                  </a:lnTo>
                  <a:lnTo>
                    <a:pt x="666" y="705"/>
                  </a:lnTo>
                  <a:lnTo>
                    <a:pt x="658" y="647"/>
                  </a:lnTo>
                  <a:lnTo>
                    <a:pt x="652" y="588"/>
                  </a:lnTo>
                  <a:lnTo>
                    <a:pt x="652" y="529"/>
                  </a:lnTo>
                  <a:lnTo>
                    <a:pt x="660" y="470"/>
                  </a:lnTo>
                  <a:lnTo>
                    <a:pt x="672" y="413"/>
                  </a:lnTo>
                  <a:lnTo>
                    <a:pt x="865" y="531"/>
                  </a:lnTo>
                  <a:lnTo>
                    <a:pt x="571" y="0"/>
                  </a:lnTo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41" name="Rectangle 40"/>
            <p:cNvSpPr>
              <a:spLocks noChangeArrowheads="1"/>
            </p:cNvSpPr>
            <p:nvPr/>
          </p:nvSpPr>
          <p:spPr bwMode="blackWhite">
            <a:xfrm>
              <a:off x="2898547" y="2538471"/>
              <a:ext cx="1413336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. White</a:t>
              </a:r>
              <a:r>
                <a:rPr lang="en-US" sz="1400" baseline="0">
                  <a:solidFill>
                    <a:schemeClr val="bg1"/>
                  </a:solidFill>
                </a:rPr>
                <a:t>. 14PT</a:t>
              </a: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42" name="Rectangle 41"/>
            <p:cNvSpPr>
              <a:spLocks noChangeArrowheads="1"/>
            </p:cNvSpPr>
            <p:nvPr/>
          </p:nvSpPr>
          <p:spPr bwMode="blackWhite">
            <a:xfrm>
              <a:off x="5890738" y="2805171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3" name="Rectangle 42"/>
            <p:cNvSpPr>
              <a:spLocks noChangeArrowheads="1"/>
            </p:cNvSpPr>
            <p:nvPr/>
          </p:nvSpPr>
          <p:spPr bwMode="blackWhite">
            <a:xfrm>
              <a:off x="6370162" y="4146609"/>
              <a:ext cx="327975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4" name="Rectangle 43"/>
            <p:cNvSpPr>
              <a:spLocks noChangeArrowheads="1"/>
            </p:cNvSpPr>
            <p:nvPr/>
          </p:nvSpPr>
          <p:spPr bwMode="blackWhite">
            <a:xfrm>
              <a:off x="5501800" y="5259446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5" name="Rectangle 44"/>
            <p:cNvSpPr>
              <a:spLocks noChangeArrowheads="1"/>
            </p:cNvSpPr>
            <p:nvPr/>
          </p:nvSpPr>
          <p:spPr bwMode="blackWhite">
            <a:xfrm>
              <a:off x="4166713" y="4962584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6" name="Rectangle 45"/>
            <p:cNvSpPr>
              <a:spLocks noChangeArrowheads="1"/>
            </p:cNvSpPr>
            <p:nvPr/>
          </p:nvSpPr>
          <p:spPr bwMode="blackWhite">
            <a:xfrm>
              <a:off x="3627624" y="3692584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</p:grpSp>
      <p:sp>
        <p:nvSpPr>
          <p:cNvPr id="47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48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5116786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Slide designed to be used when you only have a small intro paragraph and bullet points. 18PT</a:t>
            </a:r>
          </a:p>
        </p:txBody>
      </p:sp>
      <p:sp>
        <p:nvSpPr>
          <p:cNvPr id="55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5116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416700887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. Strategy Slide - Process Closed Loop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9991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7061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PROCESS CLOSED LOOP WITH LARGE TEXT</a:t>
            </a:r>
          </a:p>
        </p:txBody>
      </p:sp>
      <p:sp>
        <p:nvSpPr>
          <p:cNvPr id="47" name="Arc 3"/>
          <p:cNvSpPr>
            <a:spLocks/>
          </p:cNvSpPr>
          <p:nvPr userDrawn="1"/>
        </p:nvSpPr>
        <p:spPr bwMode="auto">
          <a:xfrm>
            <a:off x="8555775" y="1924512"/>
            <a:ext cx="2043112" cy="1801812"/>
          </a:xfrm>
          <a:custGeom>
            <a:avLst/>
            <a:gdLst>
              <a:gd name="T0" fmla="*/ 0 w 19173"/>
              <a:gd name="T1" fmla="*/ 0 h 21600"/>
              <a:gd name="T2" fmla="*/ 2147483647 w 19173"/>
              <a:gd name="T3" fmla="*/ 2147483647 h 21600"/>
              <a:gd name="T4" fmla="*/ 0 w 19173"/>
              <a:gd name="T5" fmla="*/ 2147483647 h 21600"/>
              <a:gd name="T6" fmla="*/ 0 60000 65536"/>
              <a:gd name="T7" fmla="*/ 0 60000 65536"/>
              <a:gd name="T8" fmla="*/ 0 60000 65536"/>
              <a:gd name="T9" fmla="*/ 0 w 19173"/>
              <a:gd name="T10" fmla="*/ 0 h 21600"/>
              <a:gd name="T11" fmla="*/ 19173 w 19173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173" h="21600" fill="none" extrusionOk="0">
                <a:moveTo>
                  <a:pt x="-1" y="0"/>
                </a:moveTo>
                <a:cubicBezTo>
                  <a:pt x="8064" y="0"/>
                  <a:pt x="15457" y="4492"/>
                  <a:pt x="19172" y="11651"/>
                </a:cubicBezTo>
              </a:path>
              <a:path w="19173" h="21600" stroke="0" extrusionOk="0">
                <a:moveTo>
                  <a:pt x="-1" y="0"/>
                </a:moveTo>
                <a:cubicBezTo>
                  <a:pt x="8064" y="0"/>
                  <a:pt x="15457" y="4492"/>
                  <a:pt x="19172" y="11651"/>
                </a:cubicBezTo>
                <a:lnTo>
                  <a:pt x="0" y="21600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48" name="Arc 4"/>
          <p:cNvSpPr>
            <a:spLocks/>
          </p:cNvSpPr>
          <p:nvPr userDrawn="1"/>
        </p:nvSpPr>
        <p:spPr bwMode="auto">
          <a:xfrm flipV="1">
            <a:off x="8555775" y="3803958"/>
            <a:ext cx="2301875" cy="969963"/>
          </a:xfrm>
          <a:custGeom>
            <a:avLst/>
            <a:gdLst>
              <a:gd name="T0" fmla="*/ 2147483647 w 21600"/>
              <a:gd name="T1" fmla="*/ 0 h 11619"/>
              <a:gd name="T2" fmla="*/ 2147483647 w 21600"/>
              <a:gd name="T3" fmla="*/ 2147483647 h 11619"/>
              <a:gd name="T4" fmla="*/ 0 w 21600"/>
              <a:gd name="T5" fmla="*/ 2147483647 h 11619"/>
              <a:gd name="T6" fmla="*/ 0 60000 65536"/>
              <a:gd name="T7" fmla="*/ 0 60000 65536"/>
              <a:gd name="T8" fmla="*/ 0 60000 65536"/>
              <a:gd name="T9" fmla="*/ 0 w 21600"/>
              <a:gd name="T10" fmla="*/ 0 h 11619"/>
              <a:gd name="T11" fmla="*/ 21600 w 21600"/>
              <a:gd name="T12" fmla="*/ 11619 h 1161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11619" fill="none" extrusionOk="0">
                <a:moveTo>
                  <a:pt x="18208" y="0"/>
                </a:moveTo>
                <a:cubicBezTo>
                  <a:pt x="20423" y="3470"/>
                  <a:pt x="21600" y="7501"/>
                  <a:pt x="21600" y="11619"/>
                </a:cubicBezTo>
              </a:path>
              <a:path w="21600" h="11619" stroke="0" extrusionOk="0">
                <a:moveTo>
                  <a:pt x="18208" y="0"/>
                </a:moveTo>
                <a:cubicBezTo>
                  <a:pt x="20423" y="3470"/>
                  <a:pt x="21600" y="7501"/>
                  <a:pt x="21600" y="11619"/>
                </a:cubicBezTo>
                <a:lnTo>
                  <a:pt x="0" y="11619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rot="10800000"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49" name="Arc 5"/>
          <p:cNvSpPr>
            <a:spLocks/>
          </p:cNvSpPr>
          <p:nvPr userDrawn="1"/>
        </p:nvSpPr>
        <p:spPr bwMode="auto">
          <a:xfrm rot="183362" flipV="1">
            <a:off x="8248650" y="3884613"/>
            <a:ext cx="1851025" cy="1801813"/>
          </a:xfrm>
          <a:custGeom>
            <a:avLst/>
            <a:gdLst>
              <a:gd name="T0" fmla="*/ 0 w 17368"/>
              <a:gd name="T1" fmla="*/ 2147483647 h 21600"/>
              <a:gd name="T2" fmla="*/ 2147483647 w 17368"/>
              <a:gd name="T3" fmla="*/ 2147483647 h 21600"/>
              <a:gd name="T4" fmla="*/ 2147483647 w 17368"/>
              <a:gd name="T5" fmla="*/ 2147483647 h 21600"/>
              <a:gd name="T6" fmla="*/ 0 60000 65536"/>
              <a:gd name="T7" fmla="*/ 0 60000 65536"/>
              <a:gd name="T8" fmla="*/ 0 60000 65536"/>
              <a:gd name="T9" fmla="*/ 0 w 17368"/>
              <a:gd name="T10" fmla="*/ 0 h 21600"/>
              <a:gd name="T11" fmla="*/ 17368 w 17368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7368" h="21600" fill="none" extrusionOk="0">
                <a:moveTo>
                  <a:pt x="0" y="189"/>
                </a:moveTo>
                <a:cubicBezTo>
                  <a:pt x="945" y="63"/>
                  <a:pt x="1898" y="-1"/>
                  <a:pt x="2852" y="0"/>
                </a:cubicBezTo>
                <a:cubicBezTo>
                  <a:pt x="8218" y="0"/>
                  <a:pt x="13393" y="1998"/>
                  <a:pt x="17368" y="5604"/>
                </a:cubicBezTo>
              </a:path>
              <a:path w="17368" h="21600" stroke="0" extrusionOk="0">
                <a:moveTo>
                  <a:pt x="0" y="189"/>
                </a:moveTo>
                <a:cubicBezTo>
                  <a:pt x="945" y="63"/>
                  <a:pt x="1898" y="-1"/>
                  <a:pt x="2852" y="0"/>
                </a:cubicBezTo>
                <a:cubicBezTo>
                  <a:pt x="8218" y="0"/>
                  <a:pt x="13393" y="1998"/>
                  <a:pt x="17368" y="5604"/>
                </a:cubicBezTo>
                <a:lnTo>
                  <a:pt x="2852" y="21600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rot="10800000"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54" name="Arc 6"/>
          <p:cNvSpPr>
            <a:spLocks/>
          </p:cNvSpPr>
          <p:nvPr userDrawn="1"/>
        </p:nvSpPr>
        <p:spPr bwMode="auto">
          <a:xfrm flipH="1" flipV="1">
            <a:off x="6312637" y="3726324"/>
            <a:ext cx="2244725" cy="1592263"/>
          </a:xfrm>
          <a:custGeom>
            <a:avLst/>
            <a:gdLst>
              <a:gd name="T0" fmla="*/ 2147483647 w 21027"/>
              <a:gd name="T1" fmla="*/ 0 h 19082"/>
              <a:gd name="T2" fmla="*/ 2147483647 w 21027"/>
              <a:gd name="T3" fmla="*/ 2147483647 h 19082"/>
              <a:gd name="T4" fmla="*/ 0 w 21027"/>
              <a:gd name="T5" fmla="*/ 2147483647 h 19082"/>
              <a:gd name="T6" fmla="*/ 0 60000 65536"/>
              <a:gd name="T7" fmla="*/ 0 60000 65536"/>
              <a:gd name="T8" fmla="*/ 0 60000 65536"/>
              <a:gd name="T9" fmla="*/ 0 w 21027"/>
              <a:gd name="T10" fmla="*/ 0 h 19082"/>
              <a:gd name="T11" fmla="*/ 21027 w 21027"/>
              <a:gd name="T12" fmla="*/ 19082 h 1908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027" h="19082" fill="none" extrusionOk="0">
                <a:moveTo>
                  <a:pt x="10121" y="0"/>
                </a:moveTo>
                <a:cubicBezTo>
                  <a:pt x="15625" y="2919"/>
                  <a:pt x="19601" y="8073"/>
                  <a:pt x="21026" y="14139"/>
                </a:cubicBezTo>
              </a:path>
              <a:path w="21027" h="19082" stroke="0" extrusionOk="0">
                <a:moveTo>
                  <a:pt x="10121" y="0"/>
                </a:moveTo>
                <a:cubicBezTo>
                  <a:pt x="15625" y="2919"/>
                  <a:pt x="19601" y="8073"/>
                  <a:pt x="21026" y="14139"/>
                </a:cubicBezTo>
                <a:lnTo>
                  <a:pt x="0" y="19082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 rot="10800000"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55" name="Arc 7"/>
          <p:cNvSpPr>
            <a:spLocks/>
          </p:cNvSpPr>
          <p:nvPr userDrawn="1"/>
        </p:nvSpPr>
        <p:spPr bwMode="auto">
          <a:xfrm flipH="1">
            <a:off x="6279300" y="2067387"/>
            <a:ext cx="2278062" cy="1658937"/>
          </a:xfrm>
          <a:custGeom>
            <a:avLst/>
            <a:gdLst>
              <a:gd name="T0" fmla="*/ 2147483647 w 21347"/>
              <a:gd name="T1" fmla="*/ 0 h 19905"/>
              <a:gd name="T2" fmla="*/ 2147483647 w 21347"/>
              <a:gd name="T3" fmla="*/ 2147483647 h 19905"/>
              <a:gd name="T4" fmla="*/ 0 w 21347"/>
              <a:gd name="T5" fmla="*/ 2147483647 h 19905"/>
              <a:gd name="T6" fmla="*/ 0 60000 65536"/>
              <a:gd name="T7" fmla="*/ 0 60000 65536"/>
              <a:gd name="T8" fmla="*/ 0 60000 65536"/>
              <a:gd name="T9" fmla="*/ 0 w 21347"/>
              <a:gd name="T10" fmla="*/ 0 h 19905"/>
              <a:gd name="T11" fmla="*/ 21347 w 21347"/>
              <a:gd name="T12" fmla="*/ 19905 h 1990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347" h="19905" fill="none" extrusionOk="0">
                <a:moveTo>
                  <a:pt x="8386" y="-1"/>
                </a:moveTo>
                <a:cubicBezTo>
                  <a:pt x="15295" y="2910"/>
                  <a:pt x="20201" y="9196"/>
                  <a:pt x="21346" y="16606"/>
                </a:cubicBezTo>
              </a:path>
              <a:path w="21347" h="19905" stroke="0" extrusionOk="0">
                <a:moveTo>
                  <a:pt x="8386" y="-1"/>
                </a:moveTo>
                <a:cubicBezTo>
                  <a:pt x="15295" y="2910"/>
                  <a:pt x="20201" y="9196"/>
                  <a:pt x="21346" y="16606"/>
                </a:cubicBezTo>
                <a:lnTo>
                  <a:pt x="0" y="19905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75" name="Oval 8"/>
          <p:cNvSpPr>
            <a:spLocks noChangeArrowheads="1"/>
          </p:cNvSpPr>
          <p:nvPr userDrawn="1"/>
        </p:nvSpPr>
        <p:spPr bwMode="auto">
          <a:xfrm>
            <a:off x="9048888" y="4635962"/>
            <a:ext cx="1743075" cy="1238250"/>
          </a:xfrm>
          <a:prstGeom prst="ellipse">
            <a:avLst/>
          </a:prstGeom>
          <a:solidFill>
            <a:schemeClr val="accent3"/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6" name="Oval 9"/>
          <p:cNvSpPr>
            <a:spLocks noChangeArrowheads="1"/>
          </p:cNvSpPr>
          <p:nvPr userDrawn="1"/>
        </p:nvSpPr>
        <p:spPr bwMode="auto">
          <a:xfrm>
            <a:off x="5612550" y="2894474"/>
            <a:ext cx="1738312" cy="1235075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7" name="Oval 10"/>
          <p:cNvSpPr>
            <a:spLocks noChangeArrowheads="1"/>
          </p:cNvSpPr>
          <p:nvPr userDrawn="1"/>
        </p:nvSpPr>
        <p:spPr bwMode="auto">
          <a:xfrm>
            <a:off x="6571400" y="4635962"/>
            <a:ext cx="1738312" cy="123825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8" name="Oval 11"/>
          <p:cNvSpPr>
            <a:spLocks noChangeArrowheads="1"/>
          </p:cNvSpPr>
          <p:nvPr userDrawn="1"/>
        </p:nvSpPr>
        <p:spPr bwMode="auto">
          <a:xfrm>
            <a:off x="9835300" y="2894474"/>
            <a:ext cx="1744662" cy="1235075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9" name="Oval 12"/>
          <p:cNvSpPr>
            <a:spLocks noChangeArrowheads="1"/>
          </p:cNvSpPr>
          <p:nvPr userDrawn="1"/>
        </p:nvSpPr>
        <p:spPr bwMode="auto">
          <a:xfrm>
            <a:off x="7684237" y="1438737"/>
            <a:ext cx="1739900" cy="11890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80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81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2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85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4727325" cy="39059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s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856111101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. Strategy Slide - Direct Reports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6734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0248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DIRECT REPORTS ORG CHART.</a:t>
            </a:r>
          </a:p>
        </p:txBody>
      </p:sp>
      <p:sp>
        <p:nvSpPr>
          <p:cNvPr id="125" name="Rectangle 124"/>
          <p:cNvSpPr/>
          <p:nvPr/>
        </p:nvSpPr>
        <p:spPr>
          <a:xfrm>
            <a:off x="5428481" y="1565718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cxnSp>
        <p:nvCxnSpPr>
          <p:cNvPr id="81" name="Straight Connector 80"/>
          <p:cNvCxnSpPr/>
          <p:nvPr/>
        </p:nvCxnSpPr>
        <p:spPr>
          <a:xfrm>
            <a:off x="1088796" y="3433191"/>
            <a:ext cx="8490978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/>
        </p:nvCxnSpPr>
        <p:spPr>
          <a:xfrm>
            <a:off x="9579775" y="3433191"/>
            <a:ext cx="1481343" cy="0"/>
          </a:xfrm>
          <a:prstGeom prst="line">
            <a:avLst/>
          </a:prstGeom>
          <a:ln w="6350">
            <a:solidFill>
              <a:schemeClr val="tx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/>
          <p:cNvCxnSpPr/>
          <p:nvPr/>
        </p:nvCxnSpPr>
        <p:spPr>
          <a:xfrm>
            <a:off x="9582047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/>
          <p:cNvCxnSpPr/>
          <p:nvPr/>
        </p:nvCxnSpPr>
        <p:spPr>
          <a:xfrm>
            <a:off x="11061118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/>
          <p:cNvCxnSpPr/>
          <p:nvPr/>
        </p:nvCxnSpPr>
        <p:spPr>
          <a:xfrm>
            <a:off x="5302440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/>
        </p:nvCxnSpPr>
        <p:spPr>
          <a:xfrm>
            <a:off x="3925703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/>
        </p:nvCxnSpPr>
        <p:spPr>
          <a:xfrm>
            <a:off x="2513310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/>
        </p:nvCxnSpPr>
        <p:spPr>
          <a:xfrm>
            <a:off x="1088796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142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43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5519781" y="1674479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519781" y="2691366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44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19781" y="2856097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cxnSp>
        <p:nvCxnSpPr>
          <p:cNvPr id="145" name="Straight Connector 144"/>
          <p:cNvCxnSpPr/>
          <p:nvPr/>
        </p:nvCxnSpPr>
        <p:spPr>
          <a:xfrm>
            <a:off x="6057406" y="3086187"/>
            <a:ext cx="0" cy="343134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/>
          <p:cNvCxnSpPr/>
          <p:nvPr/>
        </p:nvCxnSpPr>
        <p:spPr>
          <a:xfrm>
            <a:off x="6760791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/>
          <p:cNvCxnSpPr/>
          <p:nvPr/>
        </p:nvCxnSpPr>
        <p:spPr>
          <a:xfrm>
            <a:off x="8153492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tangle 150"/>
          <p:cNvSpPr/>
          <p:nvPr userDrawn="1"/>
        </p:nvSpPr>
        <p:spPr>
          <a:xfrm>
            <a:off x="432838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52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524138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53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24138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54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24138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55" name="Rectangle 154"/>
          <p:cNvSpPr/>
          <p:nvPr userDrawn="1"/>
        </p:nvSpPr>
        <p:spPr>
          <a:xfrm>
            <a:off x="1859057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56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1950357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57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1950357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5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1950357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59" name="Rectangle 158"/>
          <p:cNvSpPr/>
          <p:nvPr userDrawn="1"/>
        </p:nvSpPr>
        <p:spPr>
          <a:xfrm>
            <a:off x="3272950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60" name="Picture Placeholder 4"/>
          <p:cNvSpPr>
            <a:spLocks noGrp="1"/>
          </p:cNvSpPr>
          <p:nvPr>
            <p:ph type="pic" sz="quarter" idx="19" hasCustomPrompt="1"/>
          </p:nvPr>
        </p:nvSpPr>
        <p:spPr>
          <a:xfrm>
            <a:off x="3364250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1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3364250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364250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63" name="Rectangle 162"/>
          <p:cNvSpPr/>
          <p:nvPr userDrawn="1"/>
        </p:nvSpPr>
        <p:spPr>
          <a:xfrm>
            <a:off x="4646564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64" name="Picture Placeholder 4"/>
          <p:cNvSpPr>
            <a:spLocks noGrp="1"/>
          </p:cNvSpPr>
          <p:nvPr>
            <p:ph type="pic" sz="quarter" idx="22" hasCustomPrompt="1"/>
          </p:nvPr>
        </p:nvSpPr>
        <p:spPr>
          <a:xfrm>
            <a:off x="4737864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737864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4737864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67" name="Rectangle 166"/>
          <p:cNvSpPr/>
          <p:nvPr userDrawn="1"/>
        </p:nvSpPr>
        <p:spPr>
          <a:xfrm>
            <a:off x="6100746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68" name="Picture Placeholder 4"/>
          <p:cNvSpPr>
            <a:spLocks noGrp="1"/>
          </p:cNvSpPr>
          <p:nvPr>
            <p:ph type="pic" sz="quarter" idx="25" hasCustomPrompt="1"/>
          </p:nvPr>
        </p:nvSpPr>
        <p:spPr>
          <a:xfrm>
            <a:off x="6192046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9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6192046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0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6192046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1" name="Rectangle 170"/>
          <p:cNvSpPr/>
          <p:nvPr userDrawn="1"/>
        </p:nvSpPr>
        <p:spPr>
          <a:xfrm>
            <a:off x="7498529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28" hasCustomPrompt="1"/>
          </p:nvPr>
        </p:nvSpPr>
        <p:spPr>
          <a:xfrm>
            <a:off x="7589829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73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7589829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4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7589829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5" name="Rectangle 174"/>
          <p:cNvSpPr/>
          <p:nvPr userDrawn="1"/>
        </p:nvSpPr>
        <p:spPr>
          <a:xfrm>
            <a:off x="8927502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76" name="Picture Placeholder 4"/>
          <p:cNvSpPr>
            <a:spLocks noGrp="1"/>
          </p:cNvSpPr>
          <p:nvPr>
            <p:ph type="pic" sz="quarter" idx="31" hasCustomPrompt="1"/>
          </p:nvPr>
        </p:nvSpPr>
        <p:spPr>
          <a:xfrm>
            <a:off x="9018802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77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9018802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8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9018802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9" name="Rectangle 178"/>
          <p:cNvSpPr/>
          <p:nvPr userDrawn="1"/>
        </p:nvSpPr>
        <p:spPr>
          <a:xfrm>
            <a:off x="10405847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80" name="Picture Placeholder 4"/>
          <p:cNvSpPr>
            <a:spLocks noGrp="1"/>
          </p:cNvSpPr>
          <p:nvPr>
            <p:ph type="pic" sz="quarter" idx="34" hasCustomPrompt="1"/>
          </p:nvPr>
        </p:nvSpPr>
        <p:spPr>
          <a:xfrm>
            <a:off x="10497147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81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10497147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82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10497147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5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308082371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. Strategy Slide - Company/Function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6405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6047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MPANY / FUNCTION ORG CHART.</a:t>
            </a:r>
          </a:p>
        </p:txBody>
      </p:sp>
      <p:cxnSp>
        <p:nvCxnSpPr>
          <p:cNvPr id="143" name="Straight Connector 142"/>
          <p:cNvCxnSpPr>
            <a:stCxn id="210" idx="2"/>
          </p:cNvCxnSpPr>
          <p:nvPr userDrawn="1"/>
        </p:nvCxnSpPr>
        <p:spPr>
          <a:xfrm>
            <a:off x="5367448" y="2111551"/>
            <a:ext cx="0" cy="568149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/>
          <p:cNvCxnSpPr/>
          <p:nvPr userDrawn="1"/>
        </p:nvCxnSpPr>
        <p:spPr>
          <a:xfrm flipH="1">
            <a:off x="2979125" y="2530165"/>
            <a:ext cx="485527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ounded Rectangle 144"/>
          <p:cNvSpPr/>
          <p:nvPr userDrawn="1"/>
        </p:nvSpPr>
        <p:spPr>
          <a:xfrm>
            <a:off x="2112960" y="27076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46" name="Straight Connector 145"/>
          <p:cNvCxnSpPr/>
          <p:nvPr userDrawn="1"/>
        </p:nvCxnSpPr>
        <p:spPr>
          <a:xfrm>
            <a:off x="2977056" y="2530165"/>
            <a:ext cx="0" cy="149535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ounded Rectangle 146"/>
          <p:cNvSpPr/>
          <p:nvPr userDrawn="1"/>
        </p:nvSpPr>
        <p:spPr>
          <a:xfrm>
            <a:off x="1534225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48" name="Rounded Rectangle 147"/>
          <p:cNvSpPr/>
          <p:nvPr userDrawn="1"/>
        </p:nvSpPr>
        <p:spPr>
          <a:xfrm>
            <a:off x="1534225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49" name="Rounded Rectangle 148"/>
          <p:cNvSpPr/>
          <p:nvPr userDrawn="1"/>
        </p:nvSpPr>
        <p:spPr>
          <a:xfrm>
            <a:off x="1534225" y="47400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50" name="Rounded Rectangle 149"/>
          <p:cNvSpPr/>
          <p:nvPr userDrawn="1"/>
        </p:nvSpPr>
        <p:spPr>
          <a:xfrm>
            <a:off x="1534225" y="5376518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51" name="Straight Connector 150"/>
          <p:cNvCxnSpPr/>
          <p:nvPr userDrawn="1"/>
        </p:nvCxnSpPr>
        <p:spPr>
          <a:xfrm>
            <a:off x="3518616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/>
          <p:cNvCxnSpPr/>
          <p:nvPr userDrawn="1"/>
        </p:nvCxnSpPr>
        <p:spPr>
          <a:xfrm flipH="1">
            <a:off x="3331590" y="435037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/>
          <p:nvPr userDrawn="1"/>
        </p:nvCxnSpPr>
        <p:spPr>
          <a:xfrm>
            <a:off x="3697136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/>
          <p:nvPr userDrawn="1"/>
        </p:nvCxnSpPr>
        <p:spPr>
          <a:xfrm rot="-5400000">
            <a:off x="3796653" y="5536653"/>
            <a:ext cx="0" cy="201706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ounded Rectangle 157"/>
          <p:cNvSpPr/>
          <p:nvPr userDrawn="1"/>
        </p:nvSpPr>
        <p:spPr>
          <a:xfrm>
            <a:off x="4486666" y="27076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59" name="Rounded Rectangle 158"/>
          <p:cNvSpPr/>
          <p:nvPr userDrawn="1"/>
        </p:nvSpPr>
        <p:spPr>
          <a:xfrm>
            <a:off x="3944993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60" name="Rounded Rectangle 159"/>
          <p:cNvSpPr/>
          <p:nvPr userDrawn="1"/>
        </p:nvSpPr>
        <p:spPr>
          <a:xfrm>
            <a:off x="3944993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61" name="Rounded Rectangle 160"/>
          <p:cNvSpPr/>
          <p:nvPr userDrawn="1"/>
        </p:nvSpPr>
        <p:spPr>
          <a:xfrm>
            <a:off x="3944993" y="47400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62" name="Rounded Rectangle 161"/>
          <p:cNvSpPr/>
          <p:nvPr userDrawn="1"/>
        </p:nvSpPr>
        <p:spPr>
          <a:xfrm>
            <a:off x="3944993" y="5376518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63" name="Straight Connector 162"/>
          <p:cNvCxnSpPr/>
          <p:nvPr userDrawn="1"/>
        </p:nvCxnSpPr>
        <p:spPr>
          <a:xfrm>
            <a:off x="5929384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/>
          <p:cNvCxnSpPr/>
          <p:nvPr userDrawn="1"/>
        </p:nvCxnSpPr>
        <p:spPr>
          <a:xfrm flipH="1">
            <a:off x="5750905" y="3705221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Rounded Rectangle 173"/>
          <p:cNvSpPr/>
          <p:nvPr userDrawn="1"/>
        </p:nvSpPr>
        <p:spPr>
          <a:xfrm>
            <a:off x="6849249" y="2723664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75" name="Rounded Rectangle 174"/>
          <p:cNvSpPr/>
          <p:nvPr userDrawn="1"/>
        </p:nvSpPr>
        <p:spPr>
          <a:xfrm>
            <a:off x="6307576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76" name="Rounded Rectangle 175"/>
          <p:cNvSpPr/>
          <p:nvPr userDrawn="1"/>
        </p:nvSpPr>
        <p:spPr>
          <a:xfrm>
            <a:off x="6307576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77" name="Straight Connector 176"/>
          <p:cNvCxnSpPr/>
          <p:nvPr userDrawn="1"/>
        </p:nvCxnSpPr>
        <p:spPr>
          <a:xfrm>
            <a:off x="8291967" y="3281832"/>
            <a:ext cx="0" cy="1068546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0" name="Rounded Rectangle 179"/>
          <p:cNvSpPr/>
          <p:nvPr userDrawn="1"/>
        </p:nvSpPr>
        <p:spPr>
          <a:xfrm>
            <a:off x="9018041" y="3445559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81" name="Rounded Rectangle 180"/>
          <p:cNvSpPr/>
          <p:nvPr userDrawn="1"/>
        </p:nvSpPr>
        <p:spPr>
          <a:xfrm>
            <a:off x="8476368" y="417734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82" name="Rounded Rectangle 181"/>
          <p:cNvSpPr/>
          <p:nvPr userDrawn="1"/>
        </p:nvSpPr>
        <p:spPr>
          <a:xfrm>
            <a:off x="8476368" y="4830540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83" name="Rounded Rectangle 182"/>
          <p:cNvSpPr/>
          <p:nvPr userDrawn="1"/>
        </p:nvSpPr>
        <p:spPr>
          <a:xfrm>
            <a:off x="8476368" y="546191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85" name="Straight Connector 184"/>
          <p:cNvCxnSpPr/>
          <p:nvPr userDrawn="1"/>
        </p:nvCxnSpPr>
        <p:spPr>
          <a:xfrm>
            <a:off x="10460759" y="4003727"/>
            <a:ext cx="0" cy="171585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/>
          <p:cNvCxnSpPr/>
          <p:nvPr userDrawn="1"/>
        </p:nvCxnSpPr>
        <p:spPr>
          <a:xfrm flipH="1">
            <a:off x="10291072" y="4427116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Straight Connector 198"/>
          <p:cNvCxnSpPr/>
          <p:nvPr userDrawn="1"/>
        </p:nvCxnSpPr>
        <p:spPr>
          <a:xfrm>
            <a:off x="7834402" y="2530165"/>
            <a:ext cx="0" cy="177457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Connector 199"/>
          <p:cNvCxnSpPr/>
          <p:nvPr userDrawn="1"/>
        </p:nvCxnSpPr>
        <p:spPr>
          <a:xfrm flipH="1">
            <a:off x="6322236" y="1853247"/>
            <a:ext cx="3545494" cy="0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Connector 200"/>
          <p:cNvCxnSpPr/>
          <p:nvPr userDrawn="1"/>
        </p:nvCxnSpPr>
        <p:spPr>
          <a:xfrm flipV="1">
            <a:off x="9867730" y="1852539"/>
            <a:ext cx="0" cy="1560250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/>
          <p:cNvCxnSpPr/>
          <p:nvPr userDrawn="1"/>
        </p:nvCxnSpPr>
        <p:spPr>
          <a:xfrm flipH="1">
            <a:off x="8104941" y="3725455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Rounded Rectangle 209"/>
          <p:cNvSpPr/>
          <p:nvPr userDrawn="1"/>
        </p:nvSpPr>
        <p:spPr>
          <a:xfrm>
            <a:off x="4486666" y="160589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20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610101" y="1738623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0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610101" y="1903354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04650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2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604650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3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976375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4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6976375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5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2239275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6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2239275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17" name="Straight Connector 216"/>
          <p:cNvCxnSpPr/>
          <p:nvPr userDrawn="1"/>
        </p:nvCxnSpPr>
        <p:spPr>
          <a:xfrm flipH="1">
            <a:off x="8104941" y="4350930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166142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9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166142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20" name="Straight Connector 219"/>
          <p:cNvCxnSpPr/>
          <p:nvPr userDrawn="1"/>
        </p:nvCxnSpPr>
        <p:spPr>
          <a:xfrm flipH="1">
            <a:off x="3331590" y="373442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/>
          <p:cNvCxnSpPr/>
          <p:nvPr userDrawn="1"/>
        </p:nvCxnSpPr>
        <p:spPr>
          <a:xfrm flipH="1">
            <a:off x="3331590" y="5007603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/>
          <p:cNvCxnSpPr/>
          <p:nvPr userDrawn="1"/>
        </p:nvCxnSpPr>
        <p:spPr>
          <a:xfrm flipH="1">
            <a:off x="3331590" y="563307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1661425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4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1661425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2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1661425" y="486992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1661425" y="503465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27" name="Text Placeholder 7"/>
          <p:cNvSpPr>
            <a:spLocks noGrp="1"/>
          </p:cNvSpPr>
          <p:nvPr>
            <p:ph type="body" sz="quarter" idx="25" hasCustomPrompt="1"/>
          </p:nvPr>
        </p:nvSpPr>
        <p:spPr>
          <a:xfrm>
            <a:off x="1661425" y="5508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8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1661425" y="5672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0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4063966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1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063966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2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4063966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3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4063966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4" name="Text Placeholder 7"/>
          <p:cNvSpPr>
            <a:spLocks noGrp="1"/>
          </p:cNvSpPr>
          <p:nvPr>
            <p:ph type="body" sz="quarter" idx="31" hasCustomPrompt="1"/>
          </p:nvPr>
        </p:nvSpPr>
        <p:spPr>
          <a:xfrm>
            <a:off x="4063966" y="486992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5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4063966" y="503465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6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4063966" y="5508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7" name="Text Placehold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063966" y="5672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5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8600107" y="4312984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46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8600107" y="4477715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7" name="Text Placeholder 7"/>
          <p:cNvSpPr>
            <a:spLocks noGrp="1"/>
          </p:cNvSpPr>
          <p:nvPr>
            <p:ph type="body" sz="quarter" idx="37" hasCustomPrompt="1"/>
          </p:nvPr>
        </p:nvSpPr>
        <p:spPr>
          <a:xfrm>
            <a:off x="8600107" y="4941634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48" name="Text Placeholder 7"/>
          <p:cNvSpPr>
            <a:spLocks noGrp="1"/>
          </p:cNvSpPr>
          <p:nvPr>
            <p:ph type="body" sz="quarter" idx="38" hasCustomPrompt="1"/>
          </p:nvPr>
        </p:nvSpPr>
        <p:spPr>
          <a:xfrm>
            <a:off x="8600107" y="5106365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9" name="Text Placeholder 7"/>
          <p:cNvSpPr>
            <a:spLocks noGrp="1"/>
          </p:cNvSpPr>
          <p:nvPr>
            <p:ph type="body" sz="quarter" idx="39" hasCustomPrompt="1"/>
          </p:nvPr>
        </p:nvSpPr>
        <p:spPr>
          <a:xfrm>
            <a:off x="8600107" y="5579809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0" name="Text Placeholder 7"/>
          <p:cNvSpPr>
            <a:spLocks noGrp="1"/>
          </p:cNvSpPr>
          <p:nvPr>
            <p:ph type="body" sz="quarter" idx="40" hasCustomPrompt="1"/>
          </p:nvPr>
        </p:nvSpPr>
        <p:spPr>
          <a:xfrm>
            <a:off x="8600107" y="5744540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1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643662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2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643662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3" name="Text Placeholder 7"/>
          <p:cNvSpPr>
            <a:spLocks noGrp="1"/>
          </p:cNvSpPr>
          <p:nvPr>
            <p:ph type="body" sz="quarter" idx="43" hasCustomPrompt="1"/>
          </p:nvPr>
        </p:nvSpPr>
        <p:spPr>
          <a:xfrm>
            <a:off x="6436625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4" name="Text Placeholder 7"/>
          <p:cNvSpPr>
            <a:spLocks noGrp="1"/>
          </p:cNvSpPr>
          <p:nvPr>
            <p:ph type="body" sz="quarter" idx="44" hasCustomPrompt="1"/>
          </p:nvPr>
        </p:nvSpPr>
        <p:spPr>
          <a:xfrm>
            <a:off x="6436625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5" name="Text Placeholder 7"/>
          <p:cNvSpPr>
            <a:spLocks noGrp="1"/>
          </p:cNvSpPr>
          <p:nvPr>
            <p:ph type="body" sz="quarter" idx="45" hasCustomPrompt="1"/>
          </p:nvPr>
        </p:nvSpPr>
        <p:spPr>
          <a:xfrm>
            <a:off x="916189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6" name="Text Placeholder 7"/>
          <p:cNvSpPr>
            <a:spLocks noGrp="1"/>
          </p:cNvSpPr>
          <p:nvPr>
            <p:ph type="body" sz="quarter" idx="46" hasCustomPrompt="1"/>
          </p:nvPr>
        </p:nvSpPr>
        <p:spPr>
          <a:xfrm>
            <a:off x="916189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57" name="Straight Connector 256"/>
          <p:cNvCxnSpPr/>
          <p:nvPr userDrawn="1"/>
        </p:nvCxnSpPr>
        <p:spPr>
          <a:xfrm flipH="1">
            <a:off x="10291072" y="5104123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Straight Connector 257"/>
          <p:cNvCxnSpPr/>
          <p:nvPr userDrawn="1"/>
        </p:nvCxnSpPr>
        <p:spPr>
          <a:xfrm flipH="1">
            <a:off x="10291072" y="5719585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Straight Connector 258"/>
          <p:cNvCxnSpPr/>
          <p:nvPr userDrawn="1"/>
        </p:nvCxnSpPr>
        <p:spPr>
          <a:xfrm flipH="1">
            <a:off x="5750905" y="4377832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Straight Connector 259"/>
          <p:cNvCxnSpPr/>
          <p:nvPr userDrawn="1"/>
        </p:nvCxnSpPr>
        <p:spPr>
          <a:xfrm flipH="1">
            <a:off x="5750905" y="5024067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Straight Connector 260"/>
          <p:cNvCxnSpPr/>
          <p:nvPr userDrawn="1"/>
        </p:nvCxnSpPr>
        <p:spPr>
          <a:xfrm flipH="1">
            <a:off x="5750905" y="5630736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096136278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. Strategy Slid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3638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58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BLANK SLIDE FOR BESPOKE USE.</a:t>
            </a:r>
          </a:p>
        </p:txBody>
      </p:sp>
      <p:sp>
        <p:nvSpPr>
          <p:cNvPr id="7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7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610920705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. Strategy Slide Blank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94746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885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NFIDENTIAL SLIDE.</a:t>
            </a:r>
          </a:p>
        </p:txBody>
      </p:sp>
      <p:sp>
        <p:nvSpPr>
          <p:cNvPr id="5" name="Parallelogram 4"/>
          <p:cNvSpPr/>
          <p:nvPr userDrawn="1"/>
        </p:nvSpPr>
        <p:spPr>
          <a:xfrm rot="10800000" flipH="1">
            <a:off x="9353004" y="3501"/>
            <a:ext cx="1514367" cy="998836"/>
          </a:xfrm>
          <a:prstGeom prst="parallelogram">
            <a:avLst>
              <a:gd name="adj" fmla="val 100977"/>
            </a:avLst>
          </a:prstGeom>
          <a:solidFill>
            <a:schemeClr val="accent4"/>
          </a:solidFill>
          <a:ln>
            <a:noFill/>
          </a:ln>
          <a:effectLst>
            <a:outerShdw blurRad="381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 rot="2653766">
            <a:off x="9346483" y="320608"/>
            <a:ext cx="1546873" cy="3552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NFIDENTIAL</a:t>
            </a:r>
          </a:p>
        </p:txBody>
      </p:sp>
      <p:sp>
        <p:nvSpPr>
          <p:cNvPr id="6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65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65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490219208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. Strategy Slide 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067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04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EXECUTIVE SUMMARY SLIDE.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36571" y="1548820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| 01</a:t>
            </a:r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557293" y="1550217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br>
              <a:rPr lang="en-US"/>
            </a:br>
            <a:r>
              <a:rPr lang="en-US"/>
              <a:t>• 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38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36571" y="2462733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| 02</a:t>
            </a:r>
          </a:p>
        </p:txBody>
      </p:sp>
      <p:sp>
        <p:nvSpPr>
          <p:cNvPr id="41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36570" y="3380924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/>
              <a:t>| 03</a:t>
            </a:r>
          </a:p>
        </p:txBody>
      </p:sp>
      <p:sp>
        <p:nvSpPr>
          <p:cNvPr id="44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736570" y="4298839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| 04</a:t>
            </a:r>
          </a:p>
        </p:txBody>
      </p:sp>
      <p:sp>
        <p:nvSpPr>
          <p:cNvPr id="50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736570" y="5184791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| 05</a:t>
            </a:r>
          </a:p>
        </p:txBody>
      </p:sp>
      <p:sp>
        <p:nvSpPr>
          <p:cNvPr id="52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1557293" y="2462733"/>
            <a:ext cx="5284941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br>
              <a:rPr lang="en-US"/>
            </a:br>
            <a:r>
              <a:rPr lang="en-US"/>
              <a:t>• Lea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</a:p>
        </p:txBody>
      </p:sp>
      <p:sp>
        <p:nvSpPr>
          <p:cNvPr id="53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1557293" y="3376282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br>
              <a:rPr lang="en-US"/>
            </a:br>
            <a:r>
              <a:rPr lang="en-US"/>
              <a:t>•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endParaRPr lang="en-US"/>
          </a:p>
        </p:txBody>
      </p:sp>
      <p:sp>
        <p:nvSpPr>
          <p:cNvPr id="54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1557293" y="4297539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 </a:t>
            </a:r>
            <a:r>
              <a:rPr lang="en-US" err="1"/>
              <a:t>prompta</a:t>
            </a:r>
            <a:r>
              <a:rPr lang="en-US"/>
              <a:t> qui no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55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1557293" y="5187109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imperdie</a:t>
            </a:r>
            <a:br>
              <a:rPr lang="en-US"/>
            </a:br>
            <a:r>
              <a:rPr lang="en-US"/>
              <a:t>•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</a:p>
        </p:txBody>
      </p:sp>
      <p:sp>
        <p:nvSpPr>
          <p:cNvPr id="5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5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5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08222083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ont Cover Slide - Fibre Optic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8"/>
          <a:stretch/>
        </p:blipFill>
        <p:spPr>
          <a:xfrm>
            <a:off x="0" y="15589"/>
            <a:ext cx="12192000" cy="4708829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3" cstate="screen">
            <a:alphaModFix amt="3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19861" y="0"/>
            <a:ext cx="2372139" cy="4802775"/>
          </a:xfrm>
          <a:prstGeom prst="rect">
            <a:avLst/>
          </a:prstGeom>
          <a:effectLst/>
        </p:spPr>
      </p:pic>
      <p:sp>
        <p:nvSpPr>
          <p:cNvPr id="10" name="Rounded Rectangle 9"/>
          <p:cNvSpPr/>
          <p:nvPr userDrawn="1"/>
        </p:nvSpPr>
        <p:spPr>
          <a:xfrm>
            <a:off x="2552617" y="4351843"/>
            <a:ext cx="1148080" cy="450932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548398" y="4712870"/>
            <a:ext cx="1144933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ounded Rectangle 11"/>
          <p:cNvSpPr/>
          <p:nvPr userDrawn="1"/>
        </p:nvSpPr>
        <p:spPr>
          <a:xfrm>
            <a:off x="1366112" y="4351843"/>
            <a:ext cx="1148080" cy="450932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1370281" y="4712870"/>
            <a:ext cx="1144933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ounded Rectangle 13"/>
          <p:cNvSpPr/>
          <p:nvPr userDrawn="1"/>
        </p:nvSpPr>
        <p:spPr>
          <a:xfrm>
            <a:off x="182404" y="4351843"/>
            <a:ext cx="1148080" cy="450932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223643" y="4261406"/>
            <a:ext cx="1119423" cy="61555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400">
                <a:solidFill>
                  <a:schemeClr val="bg1"/>
                </a:solidFill>
                <a:effectLst/>
              </a:rPr>
              <a:t>Part of Liberty Latin America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144" t="13098" r="7849" b="8586"/>
          <a:stretch/>
        </p:blipFill>
        <p:spPr>
          <a:xfrm>
            <a:off x="310601" y="4409887"/>
            <a:ext cx="873110" cy="232210"/>
          </a:xfrm>
          <a:prstGeom prst="rect">
            <a:avLst/>
          </a:prstGeom>
          <a:effectLst/>
        </p:spPr>
      </p:pic>
      <p:cxnSp>
        <p:nvCxnSpPr>
          <p:cNvPr id="17" name="Straight Connector 16"/>
          <p:cNvCxnSpPr/>
          <p:nvPr userDrawn="1"/>
        </p:nvCxnSpPr>
        <p:spPr>
          <a:xfrm flipV="1">
            <a:off x="182404" y="4719044"/>
            <a:ext cx="1149102" cy="14409"/>
          </a:xfrm>
          <a:prstGeom prst="line">
            <a:avLst/>
          </a:prstGeom>
          <a:ln w="38100">
            <a:solidFill>
              <a:schemeClr val="accent6">
                <a:lumMod val="50000"/>
              </a:schemeClr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402383"/>
            <a:ext cx="2743200" cy="271225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F3747193-3331-4B94-94C7-B3CA543CF7DF}" type="datetime2">
              <a:rPr lang="en-GB" smtClean="0"/>
              <a:t>Sunday, 17 July 2022</a:t>
            </a:fld>
            <a:endParaRPr lang="en-US"/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5143500"/>
            <a:ext cx="9939866" cy="529167"/>
          </a:xfrm>
          <a:prstGeom prst="rect">
            <a:avLst/>
          </a:prstGeom>
        </p:spPr>
        <p:txBody>
          <a:bodyPr lIns="0" tIns="0" rIns="0" bIns="0"/>
          <a:lstStyle>
            <a:lvl1pPr>
              <a:defRPr baseline="0"/>
            </a:lvl1pPr>
          </a:lstStyle>
          <a:p>
            <a:r>
              <a:rPr lang="en-US"/>
              <a:t>FRONT COVER SLIDE | UPPERCASE ONLY | 32P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5742569"/>
            <a:ext cx="9939867" cy="345184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aseline="0"/>
            </a:lvl1pPr>
          </a:lstStyle>
          <a:p>
            <a:pPr lvl="0"/>
            <a:r>
              <a:rPr lang="en-US"/>
              <a:t>FRONT COVER SUB HEADING | UPPERCASE ONLY | 18PT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0" y="4730154"/>
            <a:ext cx="12191999" cy="2826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/>
            <a:endParaRPr lang="en-US" sz="1600">
              <a:solidFill>
                <a:schemeClr val="bg1"/>
              </a:solidFill>
            </a:endParaRPr>
          </a:p>
        </p:txBody>
      </p:sp>
      <p:cxnSp>
        <p:nvCxnSpPr>
          <p:cNvPr id="26" name="Straight Connector 25"/>
          <p:cNvCxnSpPr/>
          <p:nvPr userDrawn="1"/>
        </p:nvCxnSpPr>
        <p:spPr>
          <a:xfrm>
            <a:off x="0" y="4715383"/>
            <a:ext cx="12192000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3" name="Picture 52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4123" y="4362840"/>
            <a:ext cx="692427" cy="325697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0811" y="4387517"/>
            <a:ext cx="653109" cy="268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124010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LLA Slide - Large Bol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31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LARGE BOLD TEXT FOR CREATIVE INTEREST.</a:t>
            </a:r>
          </a:p>
        </p:txBody>
      </p:sp>
      <p:sp>
        <p:nvSpPr>
          <p:cNvPr id="44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10348785" cy="43800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4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LLA CONFIDENTIAL</a:t>
            </a:r>
          </a:p>
        </p:txBody>
      </p:sp>
      <p:sp>
        <p:nvSpPr>
          <p:cNvPr id="4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167961759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Front Cover Slide - Fibre Optic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FEABE88-742E-41C3-BB22-5C1E4EC979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592" imgH="591" progId="TCLayout.ActiveDocument.1">
                  <p:embed/>
                </p:oleObj>
              </mc:Choice>
              <mc:Fallback>
                <p:oleObj name="Diapositiva de think-cell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FEABE88-742E-41C3-BB22-5C1E4EC979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9972D0F-5B45-4A77-B504-F73820C547E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584BA00-5A5A-49D8-8A4C-5325E89B56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76" y="0"/>
            <a:ext cx="12188824" cy="5101753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7" cstate="screen">
            <a:alphaModFix amt="3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19861" y="0"/>
            <a:ext cx="2372139" cy="4802775"/>
          </a:xfrm>
          <a:prstGeom prst="rect">
            <a:avLst/>
          </a:prstGeom>
          <a:effectLst/>
        </p:spPr>
      </p:pic>
      <p:sp>
        <p:nvSpPr>
          <p:cNvPr id="10" name="Rounded Rectangle 9"/>
          <p:cNvSpPr/>
          <p:nvPr userDrawn="1"/>
        </p:nvSpPr>
        <p:spPr>
          <a:xfrm>
            <a:off x="2552617" y="4720143"/>
            <a:ext cx="1148080" cy="450932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548398" y="5081170"/>
            <a:ext cx="1144933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ounded Rectangle 11"/>
          <p:cNvSpPr/>
          <p:nvPr userDrawn="1"/>
        </p:nvSpPr>
        <p:spPr>
          <a:xfrm>
            <a:off x="1366112" y="4720143"/>
            <a:ext cx="1148080" cy="450932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1370281" y="5081170"/>
            <a:ext cx="1144933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ounded Rectangle 13"/>
          <p:cNvSpPr/>
          <p:nvPr userDrawn="1"/>
        </p:nvSpPr>
        <p:spPr>
          <a:xfrm>
            <a:off x="182404" y="4720143"/>
            <a:ext cx="1148080" cy="450932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223643" y="4629706"/>
            <a:ext cx="1119423" cy="61555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400">
                <a:solidFill>
                  <a:schemeClr val="bg1"/>
                </a:solidFill>
                <a:effectLst/>
              </a:rPr>
              <a:t>Part of Liberty Latin America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144" t="13098" r="7849" b="8586"/>
          <a:stretch/>
        </p:blipFill>
        <p:spPr>
          <a:xfrm>
            <a:off x="310601" y="4778187"/>
            <a:ext cx="873110" cy="232210"/>
          </a:xfrm>
          <a:prstGeom prst="rect">
            <a:avLst/>
          </a:prstGeom>
          <a:effectLst/>
        </p:spPr>
      </p:pic>
      <p:cxnSp>
        <p:nvCxnSpPr>
          <p:cNvPr id="17" name="Straight Connector 16"/>
          <p:cNvCxnSpPr/>
          <p:nvPr userDrawn="1"/>
        </p:nvCxnSpPr>
        <p:spPr>
          <a:xfrm flipV="1">
            <a:off x="182404" y="5087344"/>
            <a:ext cx="1149102" cy="14409"/>
          </a:xfrm>
          <a:prstGeom prst="line">
            <a:avLst/>
          </a:prstGeom>
          <a:ln w="38100">
            <a:solidFill>
              <a:schemeClr val="accent6">
                <a:lumMod val="50000"/>
              </a:schemeClr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5868983"/>
            <a:ext cx="2743200" cy="271225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09CF5F40-A6E3-4F12-980F-3C2C12AE0FC5}" type="datetime2">
              <a:rPr lang="en-US" smtClean="0"/>
              <a:t>Sunday, July 17, 2022</a:t>
            </a:fld>
            <a:endParaRPr lang="en-US"/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5511800"/>
            <a:ext cx="9939866" cy="529167"/>
          </a:xfrm>
          <a:prstGeom prst="rect">
            <a:avLst/>
          </a:prstGeom>
        </p:spPr>
        <p:txBody>
          <a:bodyPr lIns="0" tIns="0" rIns="0" bIns="0"/>
          <a:lstStyle>
            <a:lvl1pPr>
              <a:defRPr baseline="0"/>
            </a:lvl1pPr>
          </a:lstStyle>
          <a:p>
            <a:r>
              <a:rPr lang="en-US"/>
              <a:t>FRONT COVER SLIDE | UPPERCASE ONLY | 32P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6110869"/>
            <a:ext cx="9939867" cy="345184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aseline="0"/>
            </a:lvl1pPr>
          </a:lstStyle>
          <a:p>
            <a:pPr lvl="0"/>
            <a:r>
              <a:rPr lang="en-US"/>
              <a:t>FRONT COVER SUB HEADING | UPPERCASE ONLY | 18PT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0" y="5098454"/>
            <a:ext cx="12191999" cy="2826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cxnSp>
        <p:nvCxnSpPr>
          <p:cNvPr id="26" name="Straight Connector 25"/>
          <p:cNvCxnSpPr/>
          <p:nvPr userDrawn="1"/>
        </p:nvCxnSpPr>
        <p:spPr>
          <a:xfrm>
            <a:off x="0" y="5083683"/>
            <a:ext cx="12192000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3" name="Picture 52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4123" y="4731140"/>
            <a:ext cx="692427" cy="325697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0811" y="4755817"/>
            <a:ext cx="653109" cy="268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99833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. Strategy Slide - 2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16145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WO TABLE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8549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198550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15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725213" y="1876657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6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6198548" y="1876657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2403416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. Strategy Slide - 3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00068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TABLE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7923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046319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8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725213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9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4379232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0" name="Table Placeholder 5"/>
          <p:cNvSpPr>
            <a:spLocks noGrp="1"/>
          </p:cNvSpPr>
          <p:nvPr>
            <p:ph type="tbl" sz="quarter" idx="23" hasCustomPrompt="1"/>
          </p:nvPr>
        </p:nvSpPr>
        <p:spPr>
          <a:xfrm>
            <a:off x="8033882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6145204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Strategy Slide - Intro Para,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38816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NTRO PARAGRAPH WITH BULLET POINTS AND PICTURE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26231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2567595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. Strategy Slide - 6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682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67971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TABLES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2521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7923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046320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725214" y="3735977"/>
            <a:ext cx="1048862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able Placeholder 5"/>
          <p:cNvSpPr>
            <a:spLocks noGrp="1"/>
          </p:cNvSpPr>
          <p:nvPr>
            <p:ph type="tbl" sz="quarter" idx="27" hasCustomPrompt="1"/>
          </p:nvPr>
        </p:nvSpPr>
        <p:spPr>
          <a:xfrm>
            <a:off x="725213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5" name="Table Placeholder 5"/>
          <p:cNvSpPr>
            <a:spLocks noGrp="1"/>
          </p:cNvSpPr>
          <p:nvPr>
            <p:ph type="tbl" sz="quarter" idx="28" hasCustomPrompt="1"/>
          </p:nvPr>
        </p:nvSpPr>
        <p:spPr>
          <a:xfrm>
            <a:off x="4379233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6" name="Table Placeholder 5"/>
          <p:cNvSpPr>
            <a:spLocks noGrp="1"/>
          </p:cNvSpPr>
          <p:nvPr>
            <p:ph type="tbl" sz="quarter" idx="29" hasCustomPrompt="1"/>
          </p:nvPr>
        </p:nvSpPr>
        <p:spPr>
          <a:xfrm>
            <a:off x="8046320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7" name="Table Placeholder 5"/>
          <p:cNvSpPr>
            <a:spLocks noGrp="1"/>
          </p:cNvSpPr>
          <p:nvPr>
            <p:ph type="tbl" sz="quarter" idx="30" hasCustomPrompt="1"/>
          </p:nvPr>
        </p:nvSpPr>
        <p:spPr>
          <a:xfrm>
            <a:off x="725213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8" name="Table Placeholder 5"/>
          <p:cNvSpPr>
            <a:spLocks noGrp="1"/>
          </p:cNvSpPr>
          <p:nvPr>
            <p:ph type="tbl" sz="quarter" idx="31" hasCustomPrompt="1"/>
          </p:nvPr>
        </p:nvSpPr>
        <p:spPr>
          <a:xfrm>
            <a:off x="4379233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9" name="Table Placeholder 5"/>
          <p:cNvSpPr>
            <a:spLocks noGrp="1"/>
          </p:cNvSpPr>
          <p:nvPr>
            <p:ph type="tbl" sz="quarter" idx="32" hasCustomPrompt="1"/>
          </p:nvPr>
        </p:nvSpPr>
        <p:spPr>
          <a:xfrm>
            <a:off x="8046320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4843305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. Strategy Slide - Process Closed Lo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21305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472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PROCESS CLOSED LOOP WITH INTRO TEXT AND BULLETS</a:t>
            </a:r>
          </a:p>
        </p:txBody>
      </p:sp>
      <p:grpSp>
        <p:nvGrpSpPr>
          <p:cNvPr id="33" name="Group 32"/>
          <p:cNvGrpSpPr/>
          <p:nvPr userDrawn="1"/>
        </p:nvGrpSpPr>
        <p:grpSpPr>
          <a:xfrm>
            <a:off x="6152742" y="1530826"/>
            <a:ext cx="5205413" cy="4535487"/>
            <a:chOff x="1905000" y="1773238"/>
            <a:chExt cx="5205413" cy="4535487"/>
          </a:xfrm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34" name="Freeform 33"/>
            <p:cNvSpPr>
              <a:spLocks/>
            </p:cNvSpPr>
            <p:nvPr/>
          </p:nvSpPr>
          <p:spPr bwMode="blackWhite">
            <a:xfrm>
              <a:off x="5729288" y="3216275"/>
              <a:ext cx="1381125" cy="1874838"/>
            </a:xfrm>
            <a:custGeom>
              <a:avLst/>
              <a:gdLst>
                <a:gd name="T0" fmla="*/ 461616 w 852"/>
                <a:gd name="T1" fmla="*/ 1873218 h 1157"/>
                <a:gd name="T2" fmla="*/ 1493670 w 852"/>
                <a:gd name="T3" fmla="*/ 1852152 h 1157"/>
                <a:gd name="T4" fmla="*/ 1172469 w 852"/>
                <a:gd name="T5" fmla="*/ 1672284 h 1157"/>
                <a:gd name="T6" fmla="*/ 1233901 w 852"/>
                <a:gd name="T7" fmla="*/ 1552372 h 1157"/>
                <a:gd name="T8" fmla="*/ 1286557 w 852"/>
                <a:gd name="T9" fmla="*/ 1429219 h 1157"/>
                <a:gd name="T10" fmla="*/ 1330437 w 852"/>
                <a:gd name="T11" fmla="*/ 1302826 h 1157"/>
                <a:gd name="T12" fmla="*/ 1360275 w 852"/>
                <a:gd name="T13" fmla="*/ 1171571 h 1157"/>
                <a:gd name="T14" fmla="*/ 1386603 w 852"/>
                <a:gd name="T15" fmla="*/ 1040316 h 1157"/>
                <a:gd name="T16" fmla="*/ 1400645 w 852"/>
                <a:gd name="T17" fmla="*/ 909061 h 1157"/>
                <a:gd name="T18" fmla="*/ 1405910 w 852"/>
                <a:gd name="T19" fmla="*/ 774566 h 1157"/>
                <a:gd name="T20" fmla="*/ 1400645 w 852"/>
                <a:gd name="T21" fmla="*/ 640070 h 1157"/>
                <a:gd name="T22" fmla="*/ 1384848 w 852"/>
                <a:gd name="T23" fmla="*/ 508815 h 1157"/>
                <a:gd name="T24" fmla="*/ 1360275 w 852"/>
                <a:gd name="T25" fmla="*/ 377560 h 1157"/>
                <a:gd name="T26" fmla="*/ 1326926 w 852"/>
                <a:gd name="T27" fmla="*/ 247926 h 1157"/>
                <a:gd name="T28" fmla="*/ 1281291 w 852"/>
                <a:gd name="T29" fmla="*/ 121532 h 1157"/>
                <a:gd name="T30" fmla="*/ 1230391 w 852"/>
                <a:gd name="T31" fmla="*/ 0 h 1157"/>
                <a:gd name="T32" fmla="*/ 956581 w 852"/>
                <a:gd name="T33" fmla="*/ 479647 h 1157"/>
                <a:gd name="T34" fmla="*/ 365080 w 852"/>
                <a:gd name="T35" fmla="*/ 471545 h 1157"/>
                <a:gd name="T36" fmla="*/ 389653 w 852"/>
                <a:gd name="T37" fmla="*/ 559048 h 1157"/>
                <a:gd name="T38" fmla="*/ 405450 w 852"/>
                <a:gd name="T39" fmla="*/ 651413 h 1157"/>
                <a:gd name="T40" fmla="*/ 412470 w 852"/>
                <a:gd name="T41" fmla="*/ 743777 h 1157"/>
                <a:gd name="T42" fmla="*/ 410715 w 852"/>
                <a:gd name="T43" fmla="*/ 832901 h 1157"/>
                <a:gd name="T44" fmla="*/ 401939 w 852"/>
                <a:gd name="T45" fmla="*/ 925266 h 1157"/>
                <a:gd name="T46" fmla="*/ 380877 w 852"/>
                <a:gd name="T47" fmla="*/ 1016010 h 1157"/>
                <a:gd name="T48" fmla="*/ 356304 w 852"/>
                <a:gd name="T49" fmla="*/ 1106754 h 1157"/>
                <a:gd name="T50" fmla="*/ 317690 w 852"/>
                <a:gd name="T51" fmla="*/ 1189396 h 1157"/>
                <a:gd name="T52" fmla="*/ 0 w 852"/>
                <a:gd name="T53" fmla="*/ 1017630 h 1157"/>
                <a:gd name="T54" fmla="*/ 461616 w 852"/>
                <a:gd name="T55" fmla="*/ 1873218 h 115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852"/>
                <a:gd name="T85" fmla="*/ 0 h 1157"/>
                <a:gd name="T86" fmla="*/ 852 w 852"/>
                <a:gd name="T87" fmla="*/ 1157 h 115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852" h="1157">
                  <a:moveTo>
                    <a:pt x="263" y="1156"/>
                  </a:moveTo>
                  <a:lnTo>
                    <a:pt x="851" y="1143"/>
                  </a:lnTo>
                  <a:lnTo>
                    <a:pt x="668" y="1032"/>
                  </a:lnTo>
                  <a:lnTo>
                    <a:pt x="703" y="958"/>
                  </a:lnTo>
                  <a:lnTo>
                    <a:pt x="733" y="882"/>
                  </a:lnTo>
                  <a:lnTo>
                    <a:pt x="758" y="804"/>
                  </a:lnTo>
                  <a:lnTo>
                    <a:pt x="775" y="723"/>
                  </a:lnTo>
                  <a:lnTo>
                    <a:pt x="790" y="642"/>
                  </a:lnTo>
                  <a:lnTo>
                    <a:pt x="798" y="561"/>
                  </a:lnTo>
                  <a:lnTo>
                    <a:pt x="801" y="478"/>
                  </a:lnTo>
                  <a:lnTo>
                    <a:pt x="798" y="395"/>
                  </a:lnTo>
                  <a:lnTo>
                    <a:pt x="789" y="314"/>
                  </a:lnTo>
                  <a:lnTo>
                    <a:pt x="775" y="233"/>
                  </a:lnTo>
                  <a:lnTo>
                    <a:pt x="756" y="153"/>
                  </a:lnTo>
                  <a:lnTo>
                    <a:pt x="730" y="75"/>
                  </a:lnTo>
                  <a:lnTo>
                    <a:pt x="701" y="0"/>
                  </a:lnTo>
                  <a:lnTo>
                    <a:pt x="545" y="296"/>
                  </a:lnTo>
                  <a:lnTo>
                    <a:pt x="208" y="291"/>
                  </a:lnTo>
                  <a:lnTo>
                    <a:pt x="222" y="345"/>
                  </a:lnTo>
                  <a:lnTo>
                    <a:pt x="231" y="402"/>
                  </a:lnTo>
                  <a:lnTo>
                    <a:pt x="235" y="459"/>
                  </a:lnTo>
                  <a:lnTo>
                    <a:pt x="234" y="514"/>
                  </a:lnTo>
                  <a:lnTo>
                    <a:pt x="229" y="571"/>
                  </a:lnTo>
                  <a:lnTo>
                    <a:pt x="217" y="627"/>
                  </a:lnTo>
                  <a:lnTo>
                    <a:pt x="203" y="683"/>
                  </a:lnTo>
                  <a:lnTo>
                    <a:pt x="181" y="734"/>
                  </a:lnTo>
                  <a:lnTo>
                    <a:pt x="0" y="628"/>
                  </a:lnTo>
                  <a:lnTo>
                    <a:pt x="263" y="1156"/>
                  </a:lnTo>
                </a:path>
              </a:pathLst>
            </a:custGeom>
            <a:solidFill>
              <a:schemeClr val="accent3"/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blackWhite">
            <a:xfrm>
              <a:off x="5221288" y="2070100"/>
              <a:ext cx="1797050" cy="1557338"/>
            </a:xfrm>
            <a:custGeom>
              <a:avLst/>
              <a:gdLst>
                <a:gd name="T0" fmla="*/ 2147483647 w 1109"/>
                <a:gd name="T1" fmla="*/ 2147483647 h 962"/>
                <a:gd name="T2" fmla="*/ 2147483647 w 1109"/>
                <a:gd name="T3" fmla="*/ 2147483647 h 962"/>
                <a:gd name="T4" fmla="*/ 2147483647 w 1109"/>
                <a:gd name="T5" fmla="*/ 2147483647 h 962"/>
                <a:gd name="T6" fmla="*/ 2147483647 w 1109"/>
                <a:gd name="T7" fmla="*/ 2147483647 h 962"/>
                <a:gd name="T8" fmla="*/ 2147483647 w 1109"/>
                <a:gd name="T9" fmla="*/ 2147483647 h 962"/>
                <a:gd name="T10" fmla="*/ 2147483647 w 1109"/>
                <a:gd name="T11" fmla="*/ 2147483647 h 962"/>
                <a:gd name="T12" fmla="*/ 2147483647 w 1109"/>
                <a:gd name="T13" fmla="*/ 2147483647 h 962"/>
                <a:gd name="T14" fmla="*/ 2147483647 w 1109"/>
                <a:gd name="T15" fmla="*/ 2147483647 h 962"/>
                <a:gd name="T16" fmla="*/ 2147483647 w 1109"/>
                <a:gd name="T17" fmla="*/ 2147483647 h 962"/>
                <a:gd name="T18" fmla="*/ 2147483647 w 1109"/>
                <a:gd name="T19" fmla="*/ 2147483647 h 962"/>
                <a:gd name="T20" fmla="*/ 2147483647 w 1109"/>
                <a:gd name="T21" fmla="*/ 2147483647 h 962"/>
                <a:gd name="T22" fmla="*/ 2147483647 w 1109"/>
                <a:gd name="T23" fmla="*/ 2147483647 h 962"/>
                <a:gd name="T24" fmla="*/ 2147483647 w 1109"/>
                <a:gd name="T25" fmla="*/ 2147483647 h 962"/>
                <a:gd name="T26" fmla="*/ 2147483647 w 1109"/>
                <a:gd name="T27" fmla="*/ 2147483647 h 962"/>
                <a:gd name="T28" fmla="*/ 2147483647 w 1109"/>
                <a:gd name="T29" fmla="*/ 2147483647 h 962"/>
                <a:gd name="T30" fmla="*/ 2147483647 w 1109"/>
                <a:gd name="T31" fmla="*/ 2147483647 h 962"/>
                <a:gd name="T32" fmla="*/ 2147483647 w 1109"/>
                <a:gd name="T33" fmla="*/ 2147483647 h 962"/>
                <a:gd name="T34" fmla="*/ 2147483647 w 1109"/>
                <a:gd name="T35" fmla="*/ 2147483647 h 962"/>
                <a:gd name="T36" fmla="*/ 2147483647 w 1109"/>
                <a:gd name="T37" fmla="*/ 2147483647 h 962"/>
                <a:gd name="T38" fmla="*/ 0 w 1109"/>
                <a:gd name="T39" fmla="*/ 0 h 962"/>
                <a:gd name="T40" fmla="*/ 2147483647 w 1109"/>
                <a:gd name="T41" fmla="*/ 2147483647 h 962"/>
                <a:gd name="T42" fmla="*/ 2147483647 w 1109"/>
                <a:gd name="T43" fmla="*/ 2147483647 h 962"/>
                <a:gd name="T44" fmla="*/ 2147483647 w 1109"/>
                <a:gd name="T45" fmla="*/ 2147483647 h 962"/>
                <a:gd name="T46" fmla="*/ 2147483647 w 1109"/>
                <a:gd name="T47" fmla="*/ 2147483647 h 962"/>
                <a:gd name="T48" fmla="*/ 2147483647 w 1109"/>
                <a:gd name="T49" fmla="*/ 2147483647 h 962"/>
                <a:gd name="T50" fmla="*/ 2147483647 w 1109"/>
                <a:gd name="T51" fmla="*/ 2147483647 h 962"/>
                <a:gd name="T52" fmla="*/ 2147483647 w 1109"/>
                <a:gd name="T53" fmla="*/ 2147483647 h 962"/>
                <a:gd name="T54" fmla="*/ 2147483647 w 1109"/>
                <a:gd name="T55" fmla="*/ 2147483647 h 962"/>
                <a:gd name="T56" fmla="*/ 2147483647 w 1109"/>
                <a:gd name="T57" fmla="*/ 2147483647 h 962"/>
                <a:gd name="T58" fmla="*/ 2147483647 w 1109"/>
                <a:gd name="T59" fmla="*/ 2147483647 h 962"/>
                <a:gd name="T60" fmla="*/ 2147483647 w 1109"/>
                <a:gd name="T61" fmla="*/ 2147483647 h 9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109"/>
                <a:gd name="T94" fmla="*/ 0 h 962"/>
                <a:gd name="T95" fmla="*/ 1109 w 1109"/>
                <a:gd name="T96" fmla="*/ 962 h 9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109" h="962">
                  <a:moveTo>
                    <a:pt x="246" y="959"/>
                  </a:moveTo>
                  <a:lnTo>
                    <a:pt x="839" y="961"/>
                  </a:lnTo>
                  <a:lnTo>
                    <a:pt x="934" y="786"/>
                  </a:lnTo>
                  <a:lnTo>
                    <a:pt x="1023" y="611"/>
                  </a:lnTo>
                  <a:lnTo>
                    <a:pt x="1108" y="429"/>
                  </a:lnTo>
                  <a:lnTo>
                    <a:pt x="930" y="539"/>
                  </a:lnTo>
                  <a:lnTo>
                    <a:pt x="885" y="471"/>
                  </a:lnTo>
                  <a:lnTo>
                    <a:pt x="837" y="406"/>
                  </a:lnTo>
                  <a:lnTo>
                    <a:pt x="783" y="344"/>
                  </a:lnTo>
                  <a:lnTo>
                    <a:pt x="724" y="287"/>
                  </a:lnTo>
                  <a:lnTo>
                    <a:pt x="663" y="235"/>
                  </a:lnTo>
                  <a:lnTo>
                    <a:pt x="598" y="188"/>
                  </a:lnTo>
                  <a:lnTo>
                    <a:pt x="530" y="145"/>
                  </a:lnTo>
                  <a:lnTo>
                    <a:pt x="460" y="107"/>
                  </a:lnTo>
                  <a:lnTo>
                    <a:pt x="387" y="75"/>
                  </a:lnTo>
                  <a:lnTo>
                    <a:pt x="311" y="48"/>
                  </a:lnTo>
                  <a:lnTo>
                    <a:pt x="236" y="27"/>
                  </a:lnTo>
                  <a:lnTo>
                    <a:pt x="158" y="12"/>
                  </a:lnTo>
                  <a:lnTo>
                    <a:pt x="79" y="2"/>
                  </a:lnTo>
                  <a:lnTo>
                    <a:pt x="0" y="0"/>
                  </a:lnTo>
                  <a:lnTo>
                    <a:pt x="210" y="277"/>
                  </a:lnTo>
                  <a:lnTo>
                    <a:pt x="80" y="601"/>
                  </a:lnTo>
                  <a:lnTo>
                    <a:pt x="134" y="614"/>
                  </a:lnTo>
                  <a:lnTo>
                    <a:pt x="186" y="631"/>
                  </a:lnTo>
                  <a:lnTo>
                    <a:pt x="236" y="654"/>
                  </a:lnTo>
                  <a:lnTo>
                    <a:pt x="283" y="681"/>
                  </a:lnTo>
                  <a:lnTo>
                    <a:pt x="328" y="715"/>
                  </a:lnTo>
                  <a:lnTo>
                    <a:pt x="370" y="752"/>
                  </a:lnTo>
                  <a:lnTo>
                    <a:pt x="408" y="792"/>
                  </a:lnTo>
                  <a:lnTo>
                    <a:pt x="446" y="837"/>
                  </a:lnTo>
                  <a:lnTo>
                    <a:pt x="246" y="959"/>
                  </a:lnTo>
                </a:path>
              </a:pathLst>
            </a:custGeom>
            <a:solidFill>
              <a:schemeClr val="accent3">
                <a:lumMod val="75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/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blackWhite">
            <a:xfrm>
              <a:off x="1905000" y="1773238"/>
              <a:ext cx="3573463" cy="1779587"/>
            </a:xfrm>
            <a:custGeom>
              <a:avLst/>
              <a:gdLst>
                <a:gd name="T0" fmla="*/ 0 w 2206"/>
                <a:gd name="T1" fmla="*/ 2147483647 h 1099"/>
                <a:gd name="T2" fmla="*/ 2147483647 w 2206"/>
                <a:gd name="T3" fmla="*/ 2147483647 h 1099"/>
                <a:gd name="T4" fmla="*/ 2147483647 w 2206"/>
                <a:gd name="T5" fmla="*/ 2147483647 h 1099"/>
                <a:gd name="T6" fmla="*/ 2147483647 w 2206"/>
                <a:gd name="T7" fmla="*/ 2147483647 h 1099"/>
                <a:gd name="T8" fmla="*/ 2147483647 w 2206"/>
                <a:gd name="T9" fmla="*/ 2147483647 h 1099"/>
                <a:gd name="T10" fmla="*/ 2147483647 w 2206"/>
                <a:gd name="T11" fmla="*/ 2147483647 h 1099"/>
                <a:gd name="T12" fmla="*/ 2147483647 w 2206"/>
                <a:gd name="T13" fmla="*/ 2147483647 h 1099"/>
                <a:gd name="T14" fmla="*/ 2147483647 w 2206"/>
                <a:gd name="T15" fmla="*/ 2147483647 h 1099"/>
                <a:gd name="T16" fmla="*/ 2147483647 w 2206"/>
                <a:gd name="T17" fmla="*/ 2147483647 h 1099"/>
                <a:gd name="T18" fmla="*/ 2147483647 w 2206"/>
                <a:gd name="T19" fmla="*/ 2147483647 h 1099"/>
                <a:gd name="T20" fmla="*/ 2147483647 w 2206"/>
                <a:gd name="T21" fmla="*/ 2147483647 h 1099"/>
                <a:gd name="T22" fmla="*/ 2147483647 w 2206"/>
                <a:gd name="T23" fmla="*/ 2147483647 h 1099"/>
                <a:gd name="T24" fmla="*/ 2147483647 w 2206"/>
                <a:gd name="T25" fmla="*/ 2147483647 h 1099"/>
                <a:gd name="T26" fmla="*/ 2147483647 w 2206"/>
                <a:gd name="T27" fmla="*/ 2147483647 h 1099"/>
                <a:gd name="T28" fmla="*/ 2147483647 w 2206"/>
                <a:gd name="T29" fmla="*/ 0 h 1099"/>
                <a:gd name="T30" fmla="*/ 2147483647 w 2206"/>
                <a:gd name="T31" fmla="*/ 2147483647 h 1099"/>
                <a:gd name="T32" fmla="*/ 0 w 2206"/>
                <a:gd name="T33" fmla="*/ 2147483647 h 1099"/>
                <a:gd name="T34" fmla="*/ 0 w 2206"/>
                <a:gd name="T35" fmla="*/ 2147483647 h 109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206"/>
                <a:gd name="T55" fmla="*/ 0 h 1099"/>
                <a:gd name="T56" fmla="*/ 2206 w 2206"/>
                <a:gd name="T57" fmla="*/ 1099 h 109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206" h="1099">
                  <a:moveTo>
                    <a:pt x="0" y="864"/>
                  </a:moveTo>
                  <a:lnTo>
                    <a:pt x="1339" y="864"/>
                  </a:lnTo>
                  <a:lnTo>
                    <a:pt x="1552" y="1098"/>
                  </a:lnTo>
                  <a:lnTo>
                    <a:pt x="1587" y="1045"/>
                  </a:lnTo>
                  <a:lnTo>
                    <a:pt x="1625" y="996"/>
                  </a:lnTo>
                  <a:lnTo>
                    <a:pt x="1666" y="948"/>
                  </a:lnTo>
                  <a:lnTo>
                    <a:pt x="1711" y="906"/>
                  </a:lnTo>
                  <a:lnTo>
                    <a:pt x="1754" y="872"/>
                  </a:lnTo>
                  <a:lnTo>
                    <a:pt x="1800" y="845"/>
                  </a:lnTo>
                  <a:lnTo>
                    <a:pt x="1850" y="822"/>
                  </a:lnTo>
                  <a:lnTo>
                    <a:pt x="1900" y="803"/>
                  </a:lnTo>
                  <a:lnTo>
                    <a:pt x="1953" y="790"/>
                  </a:lnTo>
                  <a:lnTo>
                    <a:pt x="1983" y="1013"/>
                  </a:lnTo>
                  <a:lnTo>
                    <a:pt x="2205" y="471"/>
                  </a:lnTo>
                  <a:lnTo>
                    <a:pt x="1872" y="0"/>
                  </a:lnTo>
                  <a:lnTo>
                    <a:pt x="1873" y="196"/>
                  </a:lnTo>
                  <a:lnTo>
                    <a:pt x="0" y="196"/>
                  </a:lnTo>
                  <a:lnTo>
                    <a:pt x="0" y="864"/>
                  </a:lnTo>
                </a:path>
              </a:pathLst>
            </a:custGeom>
            <a:solidFill>
              <a:schemeClr val="accent3">
                <a:lumMod val="5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/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blackWhite">
            <a:xfrm>
              <a:off x="4867275" y="4592638"/>
              <a:ext cx="1806575" cy="1716087"/>
            </a:xfrm>
            <a:custGeom>
              <a:avLst/>
              <a:gdLst>
                <a:gd name="T0" fmla="*/ 0 w 1115"/>
                <a:gd name="T1" fmla="*/ 857233 h 1059"/>
                <a:gd name="T2" fmla="*/ 489786 w 1115"/>
                <a:gd name="T3" fmla="*/ 1714467 h 1059"/>
                <a:gd name="T4" fmla="*/ 489786 w 1115"/>
                <a:gd name="T5" fmla="*/ 1320690 h 1059"/>
                <a:gd name="T6" fmla="*/ 619693 w 1115"/>
                <a:gd name="T7" fmla="*/ 1309347 h 1059"/>
                <a:gd name="T8" fmla="*/ 753111 w 1115"/>
                <a:gd name="T9" fmla="*/ 1288280 h 1059"/>
                <a:gd name="T10" fmla="*/ 881263 w 1115"/>
                <a:gd name="T11" fmla="*/ 1259112 h 1059"/>
                <a:gd name="T12" fmla="*/ 1005904 w 1115"/>
                <a:gd name="T13" fmla="*/ 1221841 h 1059"/>
                <a:gd name="T14" fmla="*/ 1128789 w 1115"/>
                <a:gd name="T15" fmla="*/ 1176467 h 1059"/>
                <a:gd name="T16" fmla="*/ 1249919 w 1115"/>
                <a:gd name="T17" fmla="*/ 1122992 h 1059"/>
                <a:gd name="T18" fmla="*/ 1365782 w 1115"/>
                <a:gd name="T19" fmla="*/ 1061413 h 1059"/>
                <a:gd name="T20" fmla="*/ 1479890 w 1115"/>
                <a:gd name="T21" fmla="*/ 993353 h 1059"/>
                <a:gd name="T22" fmla="*/ 1581709 w 1115"/>
                <a:gd name="T23" fmla="*/ 913950 h 1059"/>
                <a:gd name="T24" fmla="*/ 1687039 w 1115"/>
                <a:gd name="T25" fmla="*/ 831306 h 1059"/>
                <a:gd name="T26" fmla="*/ 1781836 w 1115"/>
                <a:gd name="T27" fmla="*/ 738938 h 1059"/>
                <a:gd name="T28" fmla="*/ 1874878 w 1115"/>
                <a:gd name="T29" fmla="*/ 640089 h 1059"/>
                <a:gd name="T30" fmla="*/ 1955631 w 1115"/>
                <a:gd name="T31" fmla="*/ 539619 h 1059"/>
                <a:gd name="T32" fmla="*/ 1362271 w 1115"/>
                <a:gd name="T33" fmla="*/ 570408 h 1059"/>
                <a:gd name="T34" fmla="*/ 1093679 w 1115"/>
                <a:gd name="T35" fmla="*/ 58337 h 1059"/>
                <a:gd name="T36" fmla="*/ 1037503 w 1115"/>
                <a:gd name="T37" fmla="*/ 111813 h 1059"/>
                <a:gd name="T38" fmla="*/ 977816 w 1115"/>
                <a:gd name="T39" fmla="*/ 158807 h 1059"/>
                <a:gd name="T40" fmla="*/ 905840 w 1115"/>
                <a:gd name="T41" fmla="*/ 207421 h 1059"/>
                <a:gd name="T42" fmla="*/ 828598 w 1115"/>
                <a:gd name="T43" fmla="*/ 254415 h 1059"/>
                <a:gd name="T44" fmla="*/ 746089 w 1115"/>
                <a:gd name="T45" fmla="*/ 288445 h 1059"/>
                <a:gd name="T46" fmla="*/ 665336 w 1115"/>
                <a:gd name="T47" fmla="*/ 319234 h 1059"/>
                <a:gd name="T48" fmla="*/ 579316 w 1115"/>
                <a:gd name="T49" fmla="*/ 341921 h 1059"/>
                <a:gd name="T50" fmla="*/ 489786 w 1115"/>
                <a:gd name="T51" fmla="*/ 356505 h 1059"/>
                <a:gd name="T52" fmla="*/ 489786 w 1115"/>
                <a:gd name="T53" fmla="*/ 0 h 1059"/>
                <a:gd name="T54" fmla="*/ 0 w 1115"/>
                <a:gd name="T55" fmla="*/ 857233 h 1059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115"/>
                <a:gd name="T85" fmla="*/ 0 h 1059"/>
                <a:gd name="T86" fmla="*/ 1115 w 1115"/>
                <a:gd name="T87" fmla="*/ 1059 h 1059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115" h="1059">
                  <a:moveTo>
                    <a:pt x="0" y="529"/>
                  </a:moveTo>
                  <a:lnTo>
                    <a:pt x="279" y="1058"/>
                  </a:lnTo>
                  <a:lnTo>
                    <a:pt x="279" y="815"/>
                  </a:lnTo>
                  <a:lnTo>
                    <a:pt x="353" y="808"/>
                  </a:lnTo>
                  <a:lnTo>
                    <a:pt x="429" y="795"/>
                  </a:lnTo>
                  <a:lnTo>
                    <a:pt x="502" y="777"/>
                  </a:lnTo>
                  <a:lnTo>
                    <a:pt x="573" y="754"/>
                  </a:lnTo>
                  <a:lnTo>
                    <a:pt x="643" y="726"/>
                  </a:lnTo>
                  <a:lnTo>
                    <a:pt x="712" y="693"/>
                  </a:lnTo>
                  <a:lnTo>
                    <a:pt x="778" y="655"/>
                  </a:lnTo>
                  <a:lnTo>
                    <a:pt x="843" y="613"/>
                  </a:lnTo>
                  <a:lnTo>
                    <a:pt x="901" y="564"/>
                  </a:lnTo>
                  <a:lnTo>
                    <a:pt x="961" y="513"/>
                  </a:lnTo>
                  <a:lnTo>
                    <a:pt x="1015" y="456"/>
                  </a:lnTo>
                  <a:lnTo>
                    <a:pt x="1068" y="395"/>
                  </a:lnTo>
                  <a:lnTo>
                    <a:pt x="1114" y="333"/>
                  </a:lnTo>
                  <a:lnTo>
                    <a:pt x="776" y="352"/>
                  </a:lnTo>
                  <a:lnTo>
                    <a:pt x="623" y="36"/>
                  </a:lnTo>
                  <a:lnTo>
                    <a:pt x="591" y="69"/>
                  </a:lnTo>
                  <a:lnTo>
                    <a:pt x="557" y="98"/>
                  </a:lnTo>
                  <a:lnTo>
                    <a:pt x="516" y="128"/>
                  </a:lnTo>
                  <a:lnTo>
                    <a:pt x="472" y="157"/>
                  </a:lnTo>
                  <a:lnTo>
                    <a:pt x="425" y="178"/>
                  </a:lnTo>
                  <a:lnTo>
                    <a:pt x="379" y="197"/>
                  </a:lnTo>
                  <a:lnTo>
                    <a:pt x="330" y="211"/>
                  </a:lnTo>
                  <a:lnTo>
                    <a:pt x="279" y="220"/>
                  </a:lnTo>
                  <a:lnTo>
                    <a:pt x="279" y="0"/>
                  </a:lnTo>
                  <a:lnTo>
                    <a:pt x="0" y="529"/>
                  </a:ln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blackWhite">
            <a:xfrm>
              <a:off x="3294063" y="4378325"/>
              <a:ext cx="1719262" cy="1531938"/>
            </a:xfrm>
            <a:custGeom>
              <a:avLst/>
              <a:gdLst>
                <a:gd name="T0" fmla="*/ 2147483647 w 1061"/>
                <a:gd name="T1" fmla="*/ 0 h 946"/>
                <a:gd name="T2" fmla="*/ 0 w 1061"/>
                <a:gd name="T3" fmla="*/ 2147483647 h 946"/>
                <a:gd name="T4" fmla="*/ 2147483647 w 1061"/>
                <a:gd name="T5" fmla="*/ 2147483647 h 946"/>
                <a:gd name="T6" fmla="*/ 2147483647 w 1061"/>
                <a:gd name="T7" fmla="*/ 2147483647 h 946"/>
                <a:gd name="T8" fmla="*/ 2147483647 w 1061"/>
                <a:gd name="T9" fmla="*/ 2147483647 h 946"/>
                <a:gd name="T10" fmla="*/ 2147483647 w 1061"/>
                <a:gd name="T11" fmla="*/ 2147483647 h 946"/>
                <a:gd name="T12" fmla="*/ 2147483647 w 1061"/>
                <a:gd name="T13" fmla="*/ 2147483647 h 946"/>
                <a:gd name="T14" fmla="*/ 2147483647 w 1061"/>
                <a:gd name="T15" fmla="*/ 2147483647 h 946"/>
                <a:gd name="T16" fmla="*/ 2147483647 w 1061"/>
                <a:gd name="T17" fmla="*/ 2147483647 h 946"/>
                <a:gd name="T18" fmla="*/ 2147483647 w 1061"/>
                <a:gd name="T19" fmla="*/ 2147483647 h 946"/>
                <a:gd name="T20" fmla="*/ 2147483647 w 1061"/>
                <a:gd name="T21" fmla="*/ 2147483647 h 946"/>
                <a:gd name="T22" fmla="*/ 2147483647 w 1061"/>
                <a:gd name="T23" fmla="*/ 2147483647 h 946"/>
                <a:gd name="T24" fmla="*/ 2147483647 w 1061"/>
                <a:gd name="T25" fmla="*/ 2147483647 h 946"/>
                <a:gd name="T26" fmla="*/ 2147483647 w 1061"/>
                <a:gd name="T27" fmla="*/ 2147483647 h 946"/>
                <a:gd name="T28" fmla="*/ 2147483647 w 1061"/>
                <a:gd name="T29" fmla="*/ 2147483647 h 946"/>
                <a:gd name="T30" fmla="*/ 2147483647 w 1061"/>
                <a:gd name="T31" fmla="*/ 2147483647 h 946"/>
                <a:gd name="T32" fmla="*/ 2147483647 w 1061"/>
                <a:gd name="T33" fmla="*/ 2147483647 h 946"/>
                <a:gd name="T34" fmla="*/ 2147483647 w 1061"/>
                <a:gd name="T35" fmla="*/ 2147483647 h 946"/>
                <a:gd name="T36" fmla="*/ 2147483647 w 1061"/>
                <a:gd name="T37" fmla="*/ 2147483647 h 946"/>
                <a:gd name="T38" fmla="*/ 2147483647 w 1061"/>
                <a:gd name="T39" fmla="*/ 2147483647 h 946"/>
                <a:gd name="T40" fmla="*/ 2147483647 w 1061"/>
                <a:gd name="T41" fmla="*/ 2147483647 h 946"/>
                <a:gd name="T42" fmla="*/ 2147483647 w 1061"/>
                <a:gd name="T43" fmla="*/ 2147483647 h 946"/>
                <a:gd name="T44" fmla="*/ 2147483647 w 1061"/>
                <a:gd name="T45" fmla="*/ 2147483647 h 946"/>
                <a:gd name="T46" fmla="*/ 2147483647 w 1061"/>
                <a:gd name="T47" fmla="*/ 2147483647 h 946"/>
                <a:gd name="T48" fmla="*/ 2147483647 w 1061"/>
                <a:gd name="T49" fmla="*/ 2147483647 h 946"/>
                <a:gd name="T50" fmla="*/ 2147483647 w 1061"/>
                <a:gd name="T51" fmla="*/ 0 h 94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061"/>
                <a:gd name="T79" fmla="*/ 0 h 946"/>
                <a:gd name="T80" fmla="*/ 1061 w 1061"/>
                <a:gd name="T81" fmla="*/ 946 h 94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061" h="946">
                  <a:moveTo>
                    <a:pt x="372" y="0"/>
                  </a:moveTo>
                  <a:lnTo>
                    <a:pt x="0" y="477"/>
                  </a:lnTo>
                  <a:lnTo>
                    <a:pt x="207" y="395"/>
                  </a:lnTo>
                  <a:lnTo>
                    <a:pt x="252" y="466"/>
                  </a:lnTo>
                  <a:lnTo>
                    <a:pt x="302" y="531"/>
                  </a:lnTo>
                  <a:lnTo>
                    <a:pt x="354" y="592"/>
                  </a:lnTo>
                  <a:lnTo>
                    <a:pt x="410" y="649"/>
                  </a:lnTo>
                  <a:lnTo>
                    <a:pt x="471" y="703"/>
                  </a:lnTo>
                  <a:lnTo>
                    <a:pt x="535" y="751"/>
                  </a:lnTo>
                  <a:lnTo>
                    <a:pt x="602" y="795"/>
                  </a:lnTo>
                  <a:lnTo>
                    <a:pt x="670" y="833"/>
                  </a:lnTo>
                  <a:lnTo>
                    <a:pt x="745" y="867"/>
                  </a:lnTo>
                  <a:lnTo>
                    <a:pt x="818" y="894"/>
                  </a:lnTo>
                  <a:lnTo>
                    <a:pt x="894" y="917"/>
                  </a:lnTo>
                  <a:lnTo>
                    <a:pt x="970" y="934"/>
                  </a:lnTo>
                  <a:lnTo>
                    <a:pt x="1048" y="945"/>
                  </a:lnTo>
                  <a:lnTo>
                    <a:pt x="896" y="669"/>
                  </a:lnTo>
                  <a:lnTo>
                    <a:pt x="1060" y="347"/>
                  </a:lnTo>
                  <a:lnTo>
                    <a:pt x="1004" y="334"/>
                  </a:lnTo>
                  <a:lnTo>
                    <a:pt x="951" y="315"/>
                  </a:lnTo>
                  <a:lnTo>
                    <a:pt x="898" y="290"/>
                  </a:lnTo>
                  <a:lnTo>
                    <a:pt x="850" y="260"/>
                  </a:lnTo>
                  <a:lnTo>
                    <a:pt x="802" y="223"/>
                  </a:lnTo>
                  <a:lnTo>
                    <a:pt x="761" y="184"/>
                  </a:lnTo>
                  <a:lnTo>
                    <a:pt x="938" y="113"/>
                  </a:lnTo>
                  <a:lnTo>
                    <a:pt x="372" y="0"/>
                  </a:lnTo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blackWhite">
            <a:xfrm>
              <a:off x="3134390" y="3065463"/>
              <a:ext cx="1531273" cy="1709737"/>
            </a:xfrm>
            <a:custGeom>
              <a:avLst/>
              <a:gdLst>
                <a:gd name="T0" fmla="*/ 2147483647 w 866"/>
                <a:gd name="T1" fmla="*/ 0 h 1055"/>
                <a:gd name="T2" fmla="*/ 0 w 866"/>
                <a:gd name="T3" fmla="*/ 2147483647 h 1055"/>
                <a:gd name="T4" fmla="*/ 2147483647 w 866"/>
                <a:gd name="T5" fmla="*/ 2147483647 h 1055"/>
                <a:gd name="T6" fmla="*/ 2147483647 w 866"/>
                <a:gd name="T7" fmla="*/ 2147483647 h 1055"/>
                <a:gd name="T8" fmla="*/ 2147483647 w 866"/>
                <a:gd name="T9" fmla="*/ 2147483647 h 1055"/>
                <a:gd name="T10" fmla="*/ 2147483647 w 866"/>
                <a:gd name="T11" fmla="*/ 2147483647 h 1055"/>
                <a:gd name="T12" fmla="*/ 2147483647 w 866"/>
                <a:gd name="T13" fmla="*/ 2147483647 h 1055"/>
                <a:gd name="T14" fmla="*/ 2147483647 w 866"/>
                <a:gd name="T15" fmla="*/ 2147483647 h 1055"/>
                <a:gd name="T16" fmla="*/ 2147483647 w 866"/>
                <a:gd name="T17" fmla="*/ 2147483647 h 1055"/>
                <a:gd name="T18" fmla="*/ 2147483647 w 866"/>
                <a:gd name="T19" fmla="*/ 2147483647 h 1055"/>
                <a:gd name="T20" fmla="*/ 2147483647 w 866"/>
                <a:gd name="T21" fmla="*/ 2147483647 h 1055"/>
                <a:gd name="T22" fmla="*/ 2147483647 w 866"/>
                <a:gd name="T23" fmla="*/ 2147483647 h 1055"/>
                <a:gd name="T24" fmla="*/ 2147483647 w 866"/>
                <a:gd name="T25" fmla="*/ 2147483647 h 1055"/>
                <a:gd name="T26" fmla="*/ 2147483647 w 866"/>
                <a:gd name="T27" fmla="*/ 2147483647 h 1055"/>
                <a:gd name="T28" fmla="*/ 2147483647 w 866"/>
                <a:gd name="T29" fmla="*/ 2147483647 h 1055"/>
                <a:gd name="T30" fmla="*/ 2147483647 w 866"/>
                <a:gd name="T31" fmla="*/ 2147483647 h 1055"/>
                <a:gd name="T32" fmla="*/ 2147483647 w 866"/>
                <a:gd name="T33" fmla="*/ 2147483647 h 1055"/>
                <a:gd name="T34" fmla="*/ 2147483647 w 866"/>
                <a:gd name="T35" fmla="*/ 2147483647 h 1055"/>
                <a:gd name="T36" fmla="*/ 2147483647 w 866"/>
                <a:gd name="T37" fmla="*/ 2147483647 h 1055"/>
                <a:gd name="T38" fmla="*/ 2147483647 w 866"/>
                <a:gd name="T39" fmla="*/ 2147483647 h 1055"/>
                <a:gd name="T40" fmla="*/ 2147483647 w 866"/>
                <a:gd name="T41" fmla="*/ 2147483647 h 1055"/>
                <a:gd name="T42" fmla="*/ 2147483647 w 866"/>
                <a:gd name="T43" fmla="*/ 2147483647 h 1055"/>
                <a:gd name="T44" fmla="*/ 2147483647 w 866"/>
                <a:gd name="T45" fmla="*/ 2147483647 h 1055"/>
                <a:gd name="T46" fmla="*/ 2147483647 w 866"/>
                <a:gd name="T47" fmla="*/ 2147483647 h 1055"/>
                <a:gd name="T48" fmla="*/ 2147483647 w 866"/>
                <a:gd name="T49" fmla="*/ 2147483647 h 1055"/>
                <a:gd name="T50" fmla="*/ 2147483647 w 866"/>
                <a:gd name="T51" fmla="*/ 0 h 105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866"/>
                <a:gd name="T79" fmla="*/ 0 h 1055"/>
                <a:gd name="T80" fmla="*/ 866 w 866"/>
                <a:gd name="T81" fmla="*/ 1055 h 1055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866" h="1055">
                  <a:moveTo>
                    <a:pt x="571" y="0"/>
                  </a:moveTo>
                  <a:lnTo>
                    <a:pt x="0" y="1"/>
                  </a:lnTo>
                  <a:lnTo>
                    <a:pt x="178" y="111"/>
                  </a:lnTo>
                  <a:lnTo>
                    <a:pt x="153" y="187"/>
                  </a:lnTo>
                  <a:lnTo>
                    <a:pt x="130" y="264"/>
                  </a:lnTo>
                  <a:lnTo>
                    <a:pt x="113" y="343"/>
                  </a:lnTo>
                  <a:lnTo>
                    <a:pt x="100" y="423"/>
                  </a:lnTo>
                  <a:lnTo>
                    <a:pt x="94" y="504"/>
                  </a:lnTo>
                  <a:lnTo>
                    <a:pt x="93" y="583"/>
                  </a:lnTo>
                  <a:lnTo>
                    <a:pt x="95" y="664"/>
                  </a:lnTo>
                  <a:lnTo>
                    <a:pt x="104" y="744"/>
                  </a:lnTo>
                  <a:lnTo>
                    <a:pt x="118" y="824"/>
                  </a:lnTo>
                  <a:lnTo>
                    <a:pt x="136" y="903"/>
                  </a:lnTo>
                  <a:lnTo>
                    <a:pt x="159" y="979"/>
                  </a:lnTo>
                  <a:lnTo>
                    <a:pt x="189" y="1054"/>
                  </a:lnTo>
                  <a:lnTo>
                    <a:pt x="412" y="766"/>
                  </a:lnTo>
                  <a:lnTo>
                    <a:pt x="702" y="816"/>
                  </a:lnTo>
                  <a:lnTo>
                    <a:pt x="681" y="760"/>
                  </a:lnTo>
                  <a:lnTo>
                    <a:pt x="666" y="705"/>
                  </a:lnTo>
                  <a:lnTo>
                    <a:pt x="658" y="647"/>
                  </a:lnTo>
                  <a:lnTo>
                    <a:pt x="652" y="588"/>
                  </a:lnTo>
                  <a:lnTo>
                    <a:pt x="652" y="529"/>
                  </a:lnTo>
                  <a:lnTo>
                    <a:pt x="660" y="470"/>
                  </a:lnTo>
                  <a:lnTo>
                    <a:pt x="672" y="413"/>
                  </a:lnTo>
                  <a:lnTo>
                    <a:pt x="865" y="531"/>
                  </a:lnTo>
                  <a:lnTo>
                    <a:pt x="571" y="0"/>
                  </a:lnTo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41" name="Rectangle 40"/>
            <p:cNvSpPr>
              <a:spLocks noChangeArrowheads="1"/>
            </p:cNvSpPr>
            <p:nvPr/>
          </p:nvSpPr>
          <p:spPr bwMode="blackWhite">
            <a:xfrm>
              <a:off x="2898547" y="2538471"/>
              <a:ext cx="1413336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. White</a:t>
              </a:r>
              <a:r>
                <a:rPr lang="en-US" sz="1400" baseline="0">
                  <a:solidFill>
                    <a:schemeClr val="bg1"/>
                  </a:solidFill>
                </a:rPr>
                <a:t>. 14PT</a:t>
              </a: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42" name="Rectangle 41"/>
            <p:cNvSpPr>
              <a:spLocks noChangeArrowheads="1"/>
            </p:cNvSpPr>
            <p:nvPr/>
          </p:nvSpPr>
          <p:spPr bwMode="blackWhite">
            <a:xfrm>
              <a:off x="5890738" y="2805171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3" name="Rectangle 42"/>
            <p:cNvSpPr>
              <a:spLocks noChangeArrowheads="1"/>
            </p:cNvSpPr>
            <p:nvPr/>
          </p:nvSpPr>
          <p:spPr bwMode="blackWhite">
            <a:xfrm>
              <a:off x="6370162" y="4146609"/>
              <a:ext cx="327975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4" name="Rectangle 43"/>
            <p:cNvSpPr>
              <a:spLocks noChangeArrowheads="1"/>
            </p:cNvSpPr>
            <p:nvPr/>
          </p:nvSpPr>
          <p:spPr bwMode="blackWhite">
            <a:xfrm>
              <a:off x="5501800" y="5259446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5" name="Rectangle 44"/>
            <p:cNvSpPr>
              <a:spLocks noChangeArrowheads="1"/>
            </p:cNvSpPr>
            <p:nvPr/>
          </p:nvSpPr>
          <p:spPr bwMode="blackWhite">
            <a:xfrm>
              <a:off x="4166713" y="4962584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46" name="Rectangle 45"/>
            <p:cNvSpPr>
              <a:spLocks noChangeArrowheads="1"/>
            </p:cNvSpPr>
            <p:nvPr/>
          </p:nvSpPr>
          <p:spPr bwMode="blackWhite">
            <a:xfrm>
              <a:off x="3627624" y="3692584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chemeClr val="tx1"/>
                </a:buClr>
                <a:buFont typeface="Wingdings 2" pitchFamily="18" charset="2"/>
                <a:buNone/>
              </a:pPr>
              <a:r>
                <a:rPr lang="en-US" sz="1400">
                  <a:solidFill>
                    <a:schemeClr val="bg1"/>
                  </a:solidFill>
                </a:rPr>
                <a:t>Text</a:t>
              </a:r>
            </a:p>
          </p:txBody>
        </p:sp>
      </p:grpSp>
      <p:sp>
        <p:nvSpPr>
          <p:cNvPr id="47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48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5116786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Slide designed to be used when you only have a small intro paragraph and bullet points. 18PT</a:t>
            </a:r>
          </a:p>
        </p:txBody>
      </p:sp>
      <p:sp>
        <p:nvSpPr>
          <p:cNvPr id="55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5116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8224923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. Strategy Slide - Process Closed Loop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1865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7061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PROCESS CLOSED LOOP WITH LARGE TEXT</a:t>
            </a:r>
          </a:p>
        </p:txBody>
      </p:sp>
      <p:sp>
        <p:nvSpPr>
          <p:cNvPr id="47" name="Arc 3"/>
          <p:cNvSpPr>
            <a:spLocks/>
          </p:cNvSpPr>
          <p:nvPr userDrawn="1"/>
        </p:nvSpPr>
        <p:spPr bwMode="auto">
          <a:xfrm>
            <a:off x="8555775" y="1924512"/>
            <a:ext cx="2043112" cy="1801812"/>
          </a:xfrm>
          <a:custGeom>
            <a:avLst/>
            <a:gdLst>
              <a:gd name="T0" fmla="*/ 0 w 19173"/>
              <a:gd name="T1" fmla="*/ 0 h 21600"/>
              <a:gd name="T2" fmla="*/ 2147483647 w 19173"/>
              <a:gd name="T3" fmla="*/ 2147483647 h 21600"/>
              <a:gd name="T4" fmla="*/ 0 w 19173"/>
              <a:gd name="T5" fmla="*/ 2147483647 h 21600"/>
              <a:gd name="T6" fmla="*/ 0 60000 65536"/>
              <a:gd name="T7" fmla="*/ 0 60000 65536"/>
              <a:gd name="T8" fmla="*/ 0 60000 65536"/>
              <a:gd name="T9" fmla="*/ 0 w 19173"/>
              <a:gd name="T10" fmla="*/ 0 h 21600"/>
              <a:gd name="T11" fmla="*/ 19173 w 19173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173" h="21600" fill="none" extrusionOk="0">
                <a:moveTo>
                  <a:pt x="-1" y="0"/>
                </a:moveTo>
                <a:cubicBezTo>
                  <a:pt x="8064" y="0"/>
                  <a:pt x="15457" y="4492"/>
                  <a:pt x="19172" y="11651"/>
                </a:cubicBezTo>
              </a:path>
              <a:path w="19173" h="21600" stroke="0" extrusionOk="0">
                <a:moveTo>
                  <a:pt x="-1" y="0"/>
                </a:moveTo>
                <a:cubicBezTo>
                  <a:pt x="8064" y="0"/>
                  <a:pt x="15457" y="4492"/>
                  <a:pt x="19172" y="11651"/>
                </a:cubicBezTo>
                <a:lnTo>
                  <a:pt x="0" y="21600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48" name="Arc 4"/>
          <p:cNvSpPr>
            <a:spLocks/>
          </p:cNvSpPr>
          <p:nvPr userDrawn="1"/>
        </p:nvSpPr>
        <p:spPr bwMode="auto">
          <a:xfrm flipV="1">
            <a:off x="8555775" y="3803958"/>
            <a:ext cx="2301875" cy="969963"/>
          </a:xfrm>
          <a:custGeom>
            <a:avLst/>
            <a:gdLst>
              <a:gd name="T0" fmla="*/ 2147483647 w 21600"/>
              <a:gd name="T1" fmla="*/ 0 h 11619"/>
              <a:gd name="T2" fmla="*/ 2147483647 w 21600"/>
              <a:gd name="T3" fmla="*/ 2147483647 h 11619"/>
              <a:gd name="T4" fmla="*/ 0 w 21600"/>
              <a:gd name="T5" fmla="*/ 2147483647 h 11619"/>
              <a:gd name="T6" fmla="*/ 0 60000 65536"/>
              <a:gd name="T7" fmla="*/ 0 60000 65536"/>
              <a:gd name="T8" fmla="*/ 0 60000 65536"/>
              <a:gd name="T9" fmla="*/ 0 w 21600"/>
              <a:gd name="T10" fmla="*/ 0 h 11619"/>
              <a:gd name="T11" fmla="*/ 21600 w 21600"/>
              <a:gd name="T12" fmla="*/ 11619 h 1161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11619" fill="none" extrusionOk="0">
                <a:moveTo>
                  <a:pt x="18208" y="0"/>
                </a:moveTo>
                <a:cubicBezTo>
                  <a:pt x="20423" y="3470"/>
                  <a:pt x="21600" y="7501"/>
                  <a:pt x="21600" y="11619"/>
                </a:cubicBezTo>
              </a:path>
              <a:path w="21600" h="11619" stroke="0" extrusionOk="0">
                <a:moveTo>
                  <a:pt x="18208" y="0"/>
                </a:moveTo>
                <a:cubicBezTo>
                  <a:pt x="20423" y="3470"/>
                  <a:pt x="21600" y="7501"/>
                  <a:pt x="21600" y="11619"/>
                </a:cubicBezTo>
                <a:lnTo>
                  <a:pt x="0" y="11619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rot="10800000"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49" name="Arc 5"/>
          <p:cNvSpPr>
            <a:spLocks/>
          </p:cNvSpPr>
          <p:nvPr userDrawn="1"/>
        </p:nvSpPr>
        <p:spPr bwMode="auto">
          <a:xfrm rot="183362" flipV="1">
            <a:off x="8248650" y="3884613"/>
            <a:ext cx="1851025" cy="1801813"/>
          </a:xfrm>
          <a:custGeom>
            <a:avLst/>
            <a:gdLst>
              <a:gd name="T0" fmla="*/ 0 w 17368"/>
              <a:gd name="T1" fmla="*/ 2147483647 h 21600"/>
              <a:gd name="T2" fmla="*/ 2147483647 w 17368"/>
              <a:gd name="T3" fmla="*/ 2147483647 h 21600"/>
              <a:gd name="T4" fmla="*/ 2147483647 w 17368"/>
              <a:gd name="T5" fmla="*/ 2147483647 h 21600"/>
              <a:gd name="T6" fmla="*/ 0 60000 65536"/>
              <a:gd name="T7" fmla="*/ 0 60000 65536"/>
              <a:gd name="T8" fmla="*/ 0 60000 65536"/>
              <a:gd name="T9" fmla="*/ 0 w 17368"/>
              <a:gd name="T10" fmla="*/ 0 h 21600"/>
              <a:gd name="T11" fmla="*/ 17368 w 17368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7368" h="21600" fill="none" extrusionOk="0">
                <a:moveTo>
                  <a:pt x="0" y="189"/>
                </a:moveTo>
                <a:cubicBezTo>
                  <a:pt x="945" y="63"/>
                  <a:pt x="1898" y="-1"/>
                  <a:pt x="2852" y="0"/>
                </a:cubicBezTo>
                <a:cubicBezTo>
                  <a:pt x="8218" y="0"/>
                  <a:pt x="13393" y="1998"/>
                  <a:pt x="17368" y="5604"/>
                </a:cubicBezTo>
              </a:path>
              <a:path w="17368" h="21600" stroke="0" extrusionOk="0">
                <a:moveTo>
                  <a:pt x="0" y="189"/>
                </a:moveTo>
                <a:cubicBezTo>
                  <a:pt x="945" y="63"/>
                  <a:pt x="1898" y="-1"/>
                  <a:pt x="2852" y="0"/>
                </a:cubicBezTo>
                <a:cubicBezTo>
                  <a:pt x="8218" y="0"/>
                  <a:pt x="13393" y="1998"/>
                  <a:pt x="17368" y="5604"/>
                </a:cubicBezTo>
                <a:lnTo>
                  <a:pt x="2852" y="21600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rot="10800000"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54" name="Arc 6"/>
          <p:cNvSpPr>
            <a:spLocks/>
          </p:cNvSpPr>
          <p:nvPr userDrawn="1"/>
        </p:nvSpPr>
        <p:spPr bwMode="auto">
          <a:xfrm flipH="1" flipV="1">
            <a:off x="6312637" y="3726324"/>
            <a:ext cx="2244725" cy="1592263"/>
          </a:xfrm>
          <a:custGeom>
            <a:avLst/>
            <a:gdLst>
              <a:gd name="T0" fmla="*/ 2147483647 w 21027"/>
              <a:gd name="T1" fmla="*/ 0 h 19082"/>
              <a:gd name="T2" fmla="*/ 2147483647 w 21027"/>
              <a:gd name="T3" fmla="*/ 2147483647 h 19082"/>
              <a:gd name="T4" fmla="*/ 0 w 21027"/>
              <a:gd name="T5" fmla="*/ 2147483647 h 19082"/>
              <a:gd name="T6" fmla="*/ 0 60000 65536"/>
              <a:gd name="T7" fmla="*/ 0 60000 65536"/>
              <a:gd name="T8" fmla="*/ 0 60000 65536"/>
              <a:gd name="T9" fmla="*/ 0 w 21027"/>
              <a:gd name="T10" fmla="*/ 0 h 19082"/>
              <a:gd name="T11" fmla="*/ 21027 w 21027"/>
              <a:gd name="T12" fmla="*/ 19082 h 1908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027" h="19082" fill="none" extrusionOk="0">
                <a:moveTo>
                  <a:pt x="10121" y="0"/>
                </a:moveTo>
                <a:cubicBezTo>
                  <a:pt x="15625" y="2919"/>
                  <a:pt x="19601" y="8073"/>
                  <a:pt x="21026" y="14139"/>
                </a:cubicBezTo>
              </a:path>
              <a:path w="21027" h="19082" stroke="0" extrusionOk="0">
                <a:moveTo>
                  <a:pt x="10121" y="0"/>
                </a:moveTo>
                <a:cubicBezTo>
                  <a:pt x="15625" y="2919"/>
                  <a:pt x="19601" y="8073"/>
                  <a:pt x="21026" y="14139"/>
                </a:cubicBezTo>
                <a:lnTo>
                  <a:pt x="0" y="19082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 rot="10800000"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55" name="Arc 7"/>
          <p:cNvSpPr>
            <a:spLocks/>
          </p:cNvSpPr>
          <p:nvPr userDrawn="1"/>
        </p:nvSpPr>
        <p:spPr bwMode="auto">
          <a:xfrm flipH="1">
            <a:off x="6279300" y="2067387"/>
            <a:ext cx="2278062" cy="1658937"/>
          </a:xfrm>
          <a:custGeom>
            <a:avLst/>
            <a:gdLst>
              <a:gd name="T0" fmla="*/ 2147483647 w 21347"/>
              <a:gd name="T1" fmla="*/ 0 h 19905"/>
              <a:gd name="T2" fmla="*/ 2147483647 w 21347"/>
              <a:gd name="T3" fmla="*/ 2147483647 h 19905"/>
              <a:gd name="T4" fmla="*/ 0 w 21347"/>
              <a:gd name="T5" fmla="*/ 2147483647 h 19905"/>
              <a:gd name="T6" fmla="*/ 0 60000 65536"/>
              <a:gd name="T7" fmla="*/ 0 60000 65536"/>
              <a:gd name="T8" fmla="*/ 0 60000 65536"/>
              <a:gd name="T9" fmla="*/ 0 w 21347"/>
              <a:gd name="T10" fmla="*/ 0 h 19905"/>
              <a:gd name="T11" fmla="*/ 21347 w 21347"/>
              <a:gd name="T12" fmla="*/ 19905 h 1990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347" h="19905" fill="none" extrusionOk="0">
                <a:moveTo>
                  <a:pt x="8386" y="-1"/>
                </a:moveTo>
                <a:cubicBezTo>
                  <a:pt x="15295" y="2910"/>
                  <a:pt x="20201" y="9196"/>
                  <a:pt x="21346" y="16606"/>
                </a:cubicBezTo>
              </a:path>
              <a:path w="21347" h="19905" stroke="0" extrusionOk="0">
                <a:moveTo>
                  <a:pt x="8386" y="-1"/>
                </a:moveTo>
                <a:cubicBezTo>
                  <a:pt x="15295" y="2910"/>
                  <a:pt x="20201" y="9196"/>
                  <a:pt x="21346" y="16606"/>
                </a:cubicBezTo>
                <a:lnTo>
                  <a:pt x="0" y="19905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75" name="Oval 8"/>
          <p:cNvSpPr>
            <a:spLocks noChangeArrowheads="1"/>
          </p:cNvSpPr>
          <p:nvPr userDrawn="1"/>
        </p:nvSpPr>
        <p:spPr bwMode="auto">
          <a:xfrm>
            <a:off x="9048888" y="4635962"/>
            <a:ext cx="1743075" cy="1238250"/>
          </a:xfrm>
          <a:prstGeom prst="ellipse">
            <a:avLst/>
          </a:prstGeom>
          <a:solidFill>
            <a:schemeClr val="accent3"/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6" name="Oval 9"/>
          <p:cNvSpPr>
            <a:spLocks noChangeArrowheads="1"/>
          </p:cNvSpPr>
          <p:nvPr userDrawn="1"/>
        </p:nvSpPr>
        <p:spPr bwMode="auto">
          <a:xfrm>
            <a:off x="5612550" y="2894474"/>
            <a:ext cx="1738312" cy="1235075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7" name="Oval 10"/>
          <p:cNvSpPr>
            <a:spLocks noChangeArrowheads="1"/>
          </p:cNvSpPr>
          <p:nvPr userDrawn="1"/>
        </p:nvSpPr>
        <p:spPr bwMode="auto">
          <a:xfrm>
            <a:off x="6571400" y="4635962"/>
            <a:ext cx="1738312" cy="123825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8" name="Oval 11"/>
          <p:cNvSpPr>
            <a:spLocks noChangeArrowheads="1"/>
          </p:cNvSpPr>
          <p:nvPr userDrawn="1"/>
        </p:nvSpPr>
        <p:spPr bwMode="auto">
          <a:xfrm>
            <a:off x="9835300" y="2894474"/>
            <a:ext cx="1744662" cy="1235075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79" name="Oval 12"/>
          <p:cNvSpPr>
            <a:spLocks noChangeArrowheads="1"/>
          </p:cNvSpPr>
          <p:nvPr userDrawn="1"/>
        </p:nvSpPr>
        <p:spPr bwMode="auto">
          <a:xfrm>
            <a:off x="7684237" y="1438737"/>
            <a:ext cx="1739900" cy="11890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 b="0">
                <a:solidFill>
                  <a:schemeClr val="bg1"/>
                </a:solidFill>
                <a:ea typeface="ＭＳ Ｐゴシック" pitchFamily="50" charset="-128"/>
              </a:rPr>
              <a:t>Text. White.</a:t>
            </a:r>
            <a:r>
              <a:rPr lang="en-US" sz="1400" b="0" baseline="0">
                <a:solidFill>
                  <a:schemeClr val="bg1"/>
                </a:solidFill>
                <a:ea typeface="ＭＳ Ｐゴシック" pitchFamily="50" charset="-128"/>
              </a:rPr>
              <a:t> 12PT</a:t>
            </a:r>
            <a:endParaRPr lang="en-US" sz="1400" b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80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81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2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85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4727325" cy="39059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s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1807742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. Strategy Slide - Direct Reports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1897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0248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DIRECT REPORTS ORG CHART.</a:t>
            </a:r>
          </a:p>
        </p:txBody>
      </p:sp>
      <p:sp>
        <p:nvSpPr>
          <p:cNvPr id="125" name="Rectangle 124"/>
          <p:cNvSpPr/>
          <p:nvPr/>
        </p:nvSpPr>
        <p:spPr>
          <a:xfrm>
            <a:off x="5428481" y="1565718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cxnSp>
        <p:nvCxnSpPr>
          <p:cNvPr id="81" name="Straight Connector 80"/>
          <p:cNvCxnSpPr/>
          <p:nvPr/>
        </p:nvCxnSpPr>
        <p:spPr>
          <a:xfrm>
            <a:off x="1088796" y="3433191"/>
            <a:ext cx="8490978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/>
        </p:nvCxnSpPr>
        <p:spPr>
          <a:xfrm>
            <a:off x="9579775" y="3433191"/>
            <a:ext cx="1481343" cy="0"/>
          </a:xfrm>
          <a:prstGeom prst="line">
            <a:avLst/>
          </a:prstGeom>
          <a:ln w="6350">
            <a:solidFill>
              <a:schemeClr val="tx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/>
          <p:cNvCxnSpPr/>
          <p:nvPr/>
        </p:nvCxnSpPr>
        <p:spPr>
          <a:xfrm>
            <a:off x="9582047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/>
          <p:cNvCxnSpPr/>
          <p:nvPr/>
        </p:nvCxnSpPr>
        <p:spPr>
          <a:xfrm>
            <a:off x="11061118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/>
          <p:cNvCxnSpPr/>
          <p:nvPr/>
        </p:nvCxnSpPr>
        <p:spPr>
          <a:xfrm>
            <a:off x="5302440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/>
        </p:nvCxnSpPr>
        <p:spPr>
          <a:xfrm>
            <a:off x="3925703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/>
        </p:nvCxnSpPr>
        <p:spPr>
          <a:xfrm>
            <a:off x="2513310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/>
        </p:nvCxnSpPr>
        <p:spPr>
          <a:xfrm>
            <a:off x="1088796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142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43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5519781" y="1674479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519781" y="2691366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44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19781" y="2856097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cxnSp>
        <p:nvCxnSpPr>
          <p:cNvPr id="145" name="Straight Connector 144"/>
          <p:cNvCxnSpPr/>
          <p:nvPr/>
        </p:nvCxnSpPr>
        <p:spPr>
          <a:xfrm>
            <a:off x="6057406" y="3086187"/>
            <a:ext cx="0" cy="343134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/>
          <p:cNvCxnSpPr/>
          <p:nvPr/>
        </p:nvCxnSpPr>
        <p:spPr>
          <a:xfrm>
            <a:off x="6760791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/>
          <p:cNvCxnSpPr/>
          <p:nvPr/>
        </p:nvCxnSpPr>
        <p:spPr>
          <a:xfrm>
            <a:off x="8153492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tangle 150"/>
          <p:cNvSpPr/>
          <p:nvPr userDrawn="1"/>
        </p:nvSpPr>
        <p:spPr>
          <a:xfrm>
            <a:off x="432838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52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524138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53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24138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54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24138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55" name="Rectangle 154"/>
          <p:cNvSpPr/>
          <p:nvPr userDrawn="1"/>
        </p:nvSpPr>
        <p:spPr>
          <a:xfrm>
            <a:off x="1859057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56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1950357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57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1950357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5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1950357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59" name="Rectangle 158"/>
          <p:cNvSpPr/>
          <p:nvPr userDrawn="1"/>
        </p:nvSpPr>
        <p:spPr>
          <a:xfrm>
            <a:off x="3272950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60" name="Picture Placeholder 4"/>
          <p:cNvSpPr>
            <a:spLocks noGrp="1"/>
          </p:cNvSpPr>
          <p:nvPr>
            <p:ph type="pic" sz="quarter" idx="19" hasCustomPrompt="1"/>
          </p:nvPr>
        </p:nvSpPr>
        <p:spPr>
          <a:xfrm>
            <a:off x="3364250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1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3364250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364250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63" name="Rectangle 162"/>
          <p:cNvSpPr/>
          <p:nvPr userDrawn="1"/>
        </p:nvSpPr>
        <p:spPr>
          <a:xfrm>
            <a:off x="4646564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64" name="Picture Placeholder 4"/>
          <p:cNvSpPr>
            <a:spLocks noGrp="1"/>
          </p:cNvSpPr>
          <p:nvPr>
            <p:ph type="pic" sz="quarter" idx="22" hasCustomPrompt="1"/>
          </p:nvPr>
        </p:nvSpPr>
        <p:spPr>
          <a:xfrm>
            <a:off x="4737864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737864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4737864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67" name="Rectangle 166"/>
          <p:cNvSpPr/>
          <p:nvPr userDrawn="1"/>
        </p:nvSpPr>
        <p:spPr>
          <a:xfrm>
            <a:off x="6100746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68" name="Picture Placeholder 4"/>
          <p:cNvSpPr>
            <a:spLocks noGrp="1"/>
          </p:cNvSpPr>
          <p:nvPr>
            <p:ph type="pic" sz="quarter" idx="25" hasCustomPrompt="1"/>
          </p:nvPr>
        </p:nvSpPr>
        <p:spPr>
          <a:xfrm>
            <a:off x="6192046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9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6192046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0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6192046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1" name="Rectangle 170"/>
          <p:cNvSpPr/>
          <p:nvPr userDrawn="1"/>
        </p:nvSpPr>
        <p:spPr>
          <a:xfrm>
            <a:off x="7498529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28" hasCustomPrompt="1"/>
          </p:nvPr>
        </p:nvSpPr>
        <p:spPr>
          <a:xfrm>
            <a:off x="7589829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73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7589829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4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7589829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5" name="Rectangle 174"/>
          <p:cNvSpPr/>
          <p:nvPr userDrawn="1"/>
        </p:nvSpPr>
        <p:spPr>
          <a:xfrm>
            <a:off x="8927502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76" name="Picture Placeholder 4"/>
          <p:cNvSpPr>
            <a:spLocks noGrp="1"/>
          </p:cNvSpPr>
          <p:nvPr>
            <p:ph type="pic" sz="quarter" idx="31" hasCustomPrompt="1"/>
          </p:nvPr>
        </p:nvSpPr>
        <p:spPr>
          <a:xfrm>
            <a:off x="9018802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77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9018802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8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9018802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9" name="Rectangle 178"/>
          <p:cNvSpPr/>
          <p:nvPr userDrawn="1"/>
        </p:nvSpPr>
        <p:spPr>
          <a:xfrm>
            <a:off x="10405847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600"/>
          </a:p>
        </p:txBody>
      </p:sp>
      <p:sp>
        <p:nvSpPr>
          <p:cNvPr id="180" name="Picture Placeholder 4"/>
          <p:cNvSpPr>
            <a:spLocks noGrp="1"/>
          </p:cNvSpPr>
          <p:nvPr>
            <p:ph type="pic" sz="quarter" idx="34" hasCustomPrompt="1"/>
          </p:nvPr>
        </p:nvSpPr>
        <p:spPr>
          <a:xfrm>
            <a:off x="10497147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81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10497147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82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10497147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5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7817811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. Strategy Slide - Company/Function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5585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6047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MPANY / FUNCTION ORG CHART.</a:t>
            </a:r>
          </a:p>
        </p:txBody>
      </p:sp>
      <p:cxnSp>
        <p:nvCxnSpPr>
          <p:cNvPr id="143" name="Straight Connector 142"/>
          <p:cNvCxnSpPr>
            <a:stCxn id="210" idx="2"/>
          </p:cNvCxnSpPr>
          <p:nvPr userDrawn="1"/>
        </p:nvCxnSpPr>
        <p:spPr>
          <a:xfrm>
            <a:off x="5367448" y="2111551"/>
            <a:ext cx="0" cy="568149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/>
          <p:cNvCxnSpPr/>
          <p:nvPr userDrawn="1"/>
        </p:nvCxnSpPr>
        <p:spPr>
          <a:xfrm flipH="1">
            <a:off x="2979125" y="2530165"/>
            <a:ext cx="485527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ounded Rectangle 144"/>
          <p:cNvSpPr/>
          <p:nvPr userDrawn="1"/>
        </p:nvSpPr>
        <p:spPr>
          <a:xfrm>
            <a:off x="2112960" y="27076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46" name="Straight Connector 145"/>
          <p:cNvCxnSpPr/>
          <p:nvPr userDrawn="1"/>
        </p:nvCxnSpPr>
        <p:spPr>
          <a:xfrm>
            <a:off x="2977056" y="2530165"/>
            <a:ext cx="0" cy="149535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ounded Rectangle 146"/>
          <p:cNvSpPr/>
          <p:nvPr userDrawn="1"/>
        </p:nvSpPr>
        <p:spPr>
          <a:xfrm>
            <a:off x="1534225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48" name="Rounded Rectangle 147"/>
          <p:cNvSpPr/>
          <p:nvPr userDrawn="1"/>
        </p:nvSpPr>
        <p:spPr>
          <a:xfrm>
            <a:off x="1534225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49" name="Rounded Rectangle 148"/>
          <p:cNvSpPr/>
          <p:nvPr userDrawn="1"/>
        </p:nvSpPr>
        <p:spPr>
          <a:xfrm>
            <a:off x="1534225" y="47400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50" name="Rounded Rectangle 149"/>
          <p:cNvSpPr/>
          <p:nvPr userDrawn="1"/>
        </p:nvSpPr>
        <p:spPr>
          <a:xfrm>
            <a:off x="1534225" y="5376518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51" name="Straight Connector 150"/>
          <p:cNvCxnSpPr/>
          <p:nvPr userDrawn="1"/>
        </p:nvCxnSpPr>
        <p:spPr>
          <a:xfrm>
            <a:off x="3518616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/>
          <p:cNvCxnSpPr/>
          <p:nvPr userDrawn="1"/>
        </p:nvCxnSpPr>
        <p:spPr>
          <a:xfrm flipH="1">
            <a:off x="3331590" y="435037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/>
          <p:nvPr userDrawn="1"/>
        </p:nvCxnSpPr>
        <p:spPr>
          <a:xfrm>
            <a:off x="3697136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/>
          <p:nvPr userDrawn="1"/>
        </p:nvCxnSpPr>
        <p:spPr>
          <a:xfrm rot="-5400000">
            <a:off x="3796653" y="5536653"/>
            <a:ext cx="0" cy="201706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ounded Rectangle 157"/>
          <p:cNvSpPr/>
          <p:nvPr userDrawn="1"/>
        </p:nvSpPr>
        <p:spPr>
          <a:xfrm>
            <a:off x="4486666" y="27076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59" name="Rounded Rectangle 158"/>
          <p:cNvSpPr/>
          <p:nvPr userDrawn="1"/>
        </p:nvSpPr>
        <p:spPr>
          <a:xfrm>
            <a:off x="3944993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60" name="Rounded Rectangle 159"/>
          <p:cNvSpPr/>
          <p:nvPr userDrawn="1"/>
        </p:nvSpPr>
        <p:spPr>
          <a:xfrm>
            <a:off x="3944993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61" name="Rounded Rectangle 160"/>
          <p:cNvSpPr/>
          <p:nvPr userDrawn="1"/>
        </p:nvSpPr>
        <p:spPr>
          <a:xfrm>
            <a:off x="3944993" y="47400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62" name="Rounded Rectangle 161"/>
          <p:cNvSpPr/>
          <p:nvPr userDrawn="1"/>
        </p:nvSpPr>
        <p:spPr>
          <a:xfrm>
            <a:off x="3944993" y="5376518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63" name="Straight Connector 162"/>
          <p:cNvCxnSpPr/>
          <p:nvPr userDrawn="1"/>
        </p:nvCxnSpPr>
        <p:spPr>
          <a:xfrm>
            <a:off x="5929384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/>
          <p:cNvCxnSpPr/>
          <p:nvPr userDrawn="1"/>
        </p:nvCxnSpPr>
        <p:spPr>
          <a:xfrm flipH="1">
            <a:off x="5750905" y="3705221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Rounded Rectangle 173"/>
          <p:cNvSpPr/>
          <p:nvPr userDrawn="1"/>
        </p:nvSpPr>
        <p:spPr>
          <a:xfrm>
            <a:off x="6849249" y="2723664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75" name="Rounded Rectangle 174"/>
          <p:cNvSpPr/>
          <p:nvPr userDrawn="1"/>
        </p:nvSpPr>
        <p:spPr>
          <a:xfrm>
            <a:off x="6307576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76" name="Rounded Rectangle 175"/>
          <p:cNvSpPr/>
          <p:nvPr userDrawn="1"/>
        </p:nvSpPr>
        <p:spPr>
          <a:xfrm>
            <a:off x="6307576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77" name="Straight Connector 176"/>
          <p:cNvCxnSpPr/>
          <p:nvPr userDrawn="1"/>
        </p:nvCxnSpPr>
        <p:spPr>
          <a:xfrm>
            <a:off x="8291967" y="3281832"/>
            <a:ext cx="0" cy="1068546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0" name="Rounded Rectangle 179"/>
          <p:cNvSpPr/>
          <p:nvPr userDrawn="1"/>
        </p:nvSpPr>
        <p:spPr>
          <a:xfrm>
            <a:off x="9018041" y="3445559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81" name="Rounded Rectangle 180"/>
          <p:cNvSpPr/>
          <p:nvPr userDrawn="1"/>
        </p:nvSpPr>
        <p:spPr>
          <a:xfrm>
            <a:off x="8476368" y="417734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82" name="Rounded Rectangle 181"/>
          <p:cNvSpPr/>
          <p:nvPr userDrawn="1"/>
        </p:nvSpPr>
        <p:spPr>
          <a:xfrm>
            <a:off x="8476368" y="4830540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83" name="Rounded Rectangle 182"/>
          <p:cNvSpPr/>
          <p:nvPr userDrawn="1"/>
        </p:nvSpPr>
        <p:spPr>
          <a:xfrm>
            <a:off x="8476368" y="546191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cxnSp>
        <p:nvCxnSpPr>
          <p:cNvPr id="185" name="Straight Connector 184"/>
          <p:cNvCxnSpPr/>
          <p:nvPr userDrawn="1"/>
        </p:nvCxnSpPr>
        <p:spPr>
          <a:xfrm>
            <a:off x="10460759" y="4003727"/>
            <a:ext cx="0" cy="171585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/>
          <p:cNvCxnSpPr/>
          <p:nvPr userDrawn="1"/>
        </p:nvCxnSpPr>
        <p:spPr>
          <a:xfrm flipH="1">
            <a:off x="10291072" y="4427116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Straight Connector 198"/>
          <p:cNvCxnSpPr/>
          <p:nvPr userDrawn="1"/>
        </p:nvCxnSpPr>
        <p:spPr>
          <a:xfrm>
            <a:off x="7834402" y="2530165"/>
            <a:ext cx="0" cy="177457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Connector 199"/>
          <p:cNvCxnSpPr/>
          <p:nvPr userDrawn="1"/>
        </p:nvCxnSpPr>
        <p:spPr>
          <a:xfrm flipH="1">
            <a:off x="6322236" y="1853247"/>
            <a:ext cx="3545494" cy="0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Connector 200"/>
          <p:cNvCxnSpPr/>
          <p:nvPr userDrawn="1"/>
        </p:nvCxnSpPr>
        <p:spPr>
          <a:xfrm flipV="1">
            <a:off x="9867730" y="1852539"/>
            <a:ext cx="0" cy="1560250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/>
          <p:cNvCxnSpPr/>
          <p:nvPr userDrawn="1"/>
        </p:nvCxnSpPr>
        <p:spPr>
          <a:xfrm flipH="1">
            <a:off x="8104941" y="3725455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Rounded Rectangle 209"/>
          <p:cNvSpPr/>
          <p:nvPr userDrawn="1"/>
        </p:nvSpPr>
        <p:spPr>
          <a:xfrm>
            <a:off x="4486666" y="160589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20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610101" y="1738623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0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610101" y="1903354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04650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2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604650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3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976375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4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6976375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5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2239275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6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2239275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17" name="Straight Connector 216"/>
          <p:cNvCxnSpPr/>
          <p:nvPr userDrawn="1"/>
        </p:nvCxnSpPr>
        <p:spPr>
          <a:xfrm flipH="1">
            <a:off x="8104941" y="4350930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166142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9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166142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20" name="Straight Connector 219"/>
          <p:cNvCxnSpPr/>
          <p:nvPr userDrawn="1"/>
        </p:nvCxnSpPr>
        <p:spPr>
          <a:xfrm flipH="1">
            <a:off x="3331590" y="373442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/>
          <p:cNvCxnSpPr/>
          <p:nvPr userDrawn="1"/>
        </p:nvCxnSpPr>
        <p:spPr>
          <a:xfrm flipH="1">
            <a:off x="3331590" y="5007603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/>
          <p:cNvCxnSpPr/>
          <p:nvPr userDrawn="1"/>
        </p:nvCxnSpPr>
        <p:spPr>
          <a:xfrm flipH="1">
            <a:off x="3331590" y="563307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1661425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4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1661425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2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1661425" y="486992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1661425" y="503465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27" name="Text Placeholder 7"/>
          <p:cNvSpPr>
            <a:spLocks noGrp="1"/>
          </p:cNvSpPr>
          <p:nvPr>
            <p:ph type="body" sz="quarter" idx="25" hasCustomPrompt="1"/>
          </p:nvPr>
        </p:nvSpPr>
        <p:spPr>
          <a:xfrm>
            <a:off x="1661425" y="5508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8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1661425" y="5672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0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4063966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1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063966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2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4063966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3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4063966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4" name="Text Placeholder 7"/>
          <p:cNvSpPr>
            <a:spLocks noGrp="1"/>
          </p:cNvSpPr>
          <p:nvPr>
            <p:ph type="body" sz="quarter" idx="31" hasCustomPrompt="1"/>
          </p:nvPr>
        </p:nvSpPr>
        <p:spPr>
          <a:xfrm>
            <a:off x="4063966" y="486992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5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4063966" y="503465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6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4063966" y="5508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7" name="Text Placehold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063966" y="5672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5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8600107" y="4312984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46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8600107" y="4477715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7" name="Text Placeholder 7"/>
          <p:cNvSpPr>
            <a:spLocks noGrp="1"/>
          </p:cNvSpPr>
          <p:nvPr>
            <p:ph type="body" sz="quarter" idx="37" hasCustomPrompt="1"/>
          </p:nvPr>
        </p:nvSpPr>
        <p:spPr>
          <a:xfrm>
            <a:off x="8600107" y="4941634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48" name="Text Placeholder 7"/>
          <p:cNvSpPr>
            <a:spLocks noGrp="1"/>
          </p:cNvSpPr>
          <p:nvPr>
            <p:ph type="body" sz="quarter" idx="38" hasCustomPrompt="1"/>
          </p:nvPr>
        </p:nvSpPr>
        <p:spPr>
          <a:xfrm>
            <a:off x="8600107" y="5106365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9" name="Text Placeholder 7"/>
          <p:cNvSpPr>
            <a:spLocks noGrp="1"/>
          </p:cNvSpPr>
          <p:nvPr>
            <p:ph type="body" sz="quarter" idx="39" hasCustomPrompt="1"/>
          </p:nvPr>
        </p:nvSpPr>
        <p:spPr>
          <a:xfrm>
            <a:off x="8600107" y="5579809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0" name="Text Placeholder 7"/>
          <p:cNvSpPr>
            <a:spLocks noGrp="1"/>
          </p:cNvSpPr>
          <p:nvPr>
            <p:ph type="body" sz="quarter" idx="40" hasCustomPrompt="1"/>
          </p:nvPr>
        </p:nvSpPr>
        <p:spPr>
          <a:xfrm>
            <a:off x="8600107" y="5744540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1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643662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2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643662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3" name="Text Placeholder 7"/>
          <p:cNvSpPr>
            <a:spLocks noGrp="1"/>
          </p:cNvSpPr>
          <p:nvPr>
            <p:ph type="body" sz="quarter" idx="43" hasCustomPrompt="1"/>
          </p:nvPr>
        </p:nvSpPr>
        <p:spPr>
          <a:xfrm>
            <a:off x="6436625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4" name="Text Placeholder 7"/>
          <p:cNvSpPr>
            <a:spLocks noGrp="1"/>
          </p:cNvSpPr>
          <p:nvPr>
            <p:ph type="body" sz="quarter" idx="44" hasCustomPrompt="1"/>
          </p:nvPr>
        </p:nvSpPr>
        <p:spPr>
          <a:xfrm>
            <a:off x="6436625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5" name="Text Placeholder 7"/>
          <p:cNvSpPr>
            <a:spLocks noGrp="1"/>
          </p:cNvSpPr>
          <p:nvPr>
            <p:ph type="body" sz="quarter" idx="45" hasCustomPrompt="1"/>
          </p:nvPr>
        </p:nvSpPr>
        <p:spPr>
          <a:xfrm>
            <a:off x="916189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6" name="Text Placeholder 7"/>
          <p:cNvSpPr>
            <a:spLocks noGrp="1"/>
          </p:cNvSpPr>
          <p:nvPr>
            <p:ph type="body" sz="quarter" idx="46" hasCustomPrompt="1"/>
          </p:nvPr>
        </p:nvSpPr>
        <p:spPr>
          <a:xfrm>
            <a:off x="916189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57" name="Straight Connector 256"/>
          <p:cNvCxnSpPr/>
          <p:nvPr userDrawn="1"/>
        </p:nvCxnSpPr>
        <p:spPr>
          <a:xfrm flipH="1">
            <a:off x="10291072" y="5104123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Straight Connector 257"/>
          <p:cNvCxnSpPr/>
          <p:nvPr userDrawn="1"/>
        </p:nvCxnSpPr>
        <p:spPr>
          <a:xfrm flipH="1">
            <a:off x="10291072" y="5719585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Straight Connector 258"/>
          <p:cNvCxnSpPr/>
          <p:nvPr userDrawn="1"/>
        </p:nvCxnSpPr>
        <p:spPr>
          <a:xfrm flipH="1">
            <a:off x="5750905" y="4377832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Straight Connector 259"/>
          <p:cNvCxnSpPr/>
          <p:nvPr userDrawn="1"/>
        </p:nvCxnSpPr>
        <p:spPr>
          <a:xfrm flipH="1">
            <a:off x="5750905" y="5024067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Straight Connector 260"/>
          <p:cNvCxnSpPr/>
          <p:nvPr userDrawn="1"/>
        </p:nvCxnSpPr>
        <p:spPr>
          <a:xfrm flipH="1">
            <a:off x="5750905" y="5630736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63158475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. Strategy Slid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8700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58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BLANK SLIDE FOR BESPOKE USE.</a:t>
            </a:r>
          </a:p>
        </p:txBody>
      </p:sp>
      <p:sp>
        <p:nvSpPr>
          <p:cNvPr id="7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7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00277772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. Strategy Slide Blank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0804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885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NFIDENTIAL SLIDE.</a:t>
            </a:r>
          </a:p>
        </p:txBody>
      </p:sp>
      <p:sp>
        <p:nvSpPr>
          <p:cNvPr id="5" name="Parallelogram 4"/>
          <p:cNvSpPr/>
          <p:nvPr userDrawn="1"/>
        </p:nvSpPr>
        <p:spPr>
          <a:xfrm rot="10800000" flipH="1">
            <a:off x="9353004" y="3501"/>
            <a:ext cx="1514367" cy="998836"/>
          </a:xfrm>
          <a:prstGeom prst="parallelogram">
            <a:avLst>
              <a:gd name="adj" fmla="val 100977"/>
            </a:avLst>
          </a:prstGeom>
          <a:solidFill>
            <a:schemeClr val="accent4"/>
          </a:solidFill>
          <a:ln>
            <a:noFill/>
          </a:ln>
          <a:effectLst>
            <a:outerShdw blurRad="381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 rot="2653766">
            <a:off x="9346483" y="320608"/>
            <a:ext cx="1546873" cy="3552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NFIDENTIAL</a:t>
            </a:r>
          </a:p>
        </p:txBody>
      </p:sp>
      <p:sp>
        <p:nvSpPr>
          <p:cNvPr id="6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65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65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8326974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. Strategy Slide 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900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04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EXECUTIVE SUMMARY SLIDE.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36571" y="1548820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| 01</a:t>
            </a:r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557293" y="1550217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br>
              <a:rPr lang="en-US"/>
            </a:br>
            <a:r>
              <a:rPr lang="en-US"/>
              <a:t>• 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38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36571" y="2462733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| 02</a:t>
            </a:r>
          </a:p>
        </p:txBody>
      </p:sp>
      <p:sp>
        <p:nvSpPr>
          <p:cNvPr id="41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36570" y="3380924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/>
              <a:t>| 03</a:t>
            </a:r>
          </a:p>
        </p:txBody>
      </p:sp>
      <p:sp>
        <p:nvSpPr>
          <p:cNvPr id="44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736570" y="4298839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| 04</a:t>
            </a:r>
          </a:p>
        </p:txBody>
      </p:sp>
      <p:sp>
        <p:nvSpPr>
          <p:cNvPr id="50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736570" y="5184791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| 05</a:t>
            </a:r>
          </a:p>
        </p:txBody>
      </p:sp>
      <p:sp>
        <p:nvSpPr>
          <p:cNvPr id="52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1557293" y="2462733"/>
            <a:ext cx="5284941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br>
              <a:rPr lang="en-US"/>
            </a:br>
            <a:r>
              <a:rPr lang="en-US"/>
              <a:t>• Lea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</a:p>
        </p:txBody>
      </p:sp>
      <p:sp>
        <p:nvSpPr>
          <p:cNvPr id="53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1557293" y="3376282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br>
              <a:rPr lang="en-US"/>
            </a:br>
            <a:r>
              <a:rPr lang="en-US"/>
              <a:t>•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endParaRPr lang="en-US"/>
          </a:p>
        </p:txBody>
      </p:sp>
      <p:sp>
        <p:nvSpPr>
          <p:cNvPr id="54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1557293" y="4297539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 </a:t>
            </a:r>
            <a:r>
              <a:rPr lang="en-US" err="1"/>
              <a:t>prompta</a:t>
            </a:r>
            <a:r>
              <a:rPr lang="en-US"/>
              <a:t> qui no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55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1557293" y="5187109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imperdie</a:t>
            </a:r>
            <a:br>
              <a:rPr lang="en-US"/>
            </a:br>
            <a:r>
              <a:rPr lang="en-US"/>
              <a:t>•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</a:p>
        </p:txBody>
      </p:sp>
      <p:sp>
        <p:nvSpPr>
          <p:cNvPr id="5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5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5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18628319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LLA Slide - Large Bol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31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LARGE BOLD TEXT FOR CREATIVE INTEREST.</a:t>
            </a:r>
          </a:p>
        </p:txBody>
      </p:sp>
      <p:sp>
        <p:nvSpPr>
          <p:cNvPr id="44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10348785" cy="43800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4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LLA CONFIDENTIAL</a:t>
            </a:r>
          </a:p>
        </p:txBody>
      </p:sp>
      <p:sp>
        <p:nvSpPr>
          <p:cNvPr id="4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71509323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15F918A-B6C8-4C6C-A8EA-846ACAC6F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C8368593-849F-46D9-9138-87C9D407CB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1573320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Strategy Slide - Intro Para, Bullets, 4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0593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NTRO PARAGRAPH WITH BULLET POINTS AND 4 X PICTURES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1" y="15525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26231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37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804400" y="15525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38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7550151" y="37623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39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9804400" y="37623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40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41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2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14071596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Strategy Slide -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4004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31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NTENTS PAGE/SLIDE WITH NUMBERS.</a:t>
            </a:r>
          </a:p>
        </p:txBody>
      </p:sp>
      <p:graphicFrame>
        <p:nvGraphicFramePr>
          <p:cNvPr id="12" name="Table 11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179702626"/>
              </p:ext>
            </p:extLst>
          </p:nvPr>
        </p:nvGraphicFramePr>
        <p:xfrm>
          <a:off x="725212" y="1553302"/>
          <a:ext cx="10773104" cy="4246129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94488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43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INTRODUCTION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6254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IRST TOPIC HER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  <a:endParaRPr lang="en-US" sz="1200" baseline="0">
                        <a:solidFill>
                          <a:schemeClr val="accent3"/>
                        </a:solidFill>
                      </a:endParaRP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Third Subject Heading Her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3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4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5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3682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ECOND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TOPIC HER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7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8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9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THIRD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0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OURTH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62546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IFTH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Third Subject Heading Her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8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19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20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2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IXTH TOPIC HERE.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2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EVENTH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TOPIC HER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4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7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8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8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51383767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Strategy Slide - Intro Para,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5302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NTRO PARAGRAPH WITH BULLET POINTS AND PICTURE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26231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3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613894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Strategy Slide - Intro Para, Bullets, 4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1466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NTRO PARAGRAPH WITH BULLET POINTS AND 4 X PICTURES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1" y="15525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26231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37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804400" y="15525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38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7550151" y="37623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39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9804400" y="37623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40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41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2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78933479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 Strategy Slide - Large Bol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7272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050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LARGE BOLD TEXT FOR CREATIVE INTEREST.</a:t>
            </a:r>
          </a:p>
        </p:txBody>
      </p:sp>
      <p:sp>
        <p:nvSpPr>
          <p:cNvPr id="44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10348785" cy="43800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4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4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83000396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 Strategy Slide - Large Bold 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4101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86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LARGE BOLD TEXT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5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6444347" cy="32050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s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</a:t>
            </a:r>
          </a:p>
        </p:txBody>
      </p:sp>
      <p:sp>
        <p:nvSpPr>
          <p:cNvPr id="7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7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7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42608147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 Strategy Slide - Numbered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39305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7453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NUMBERED BULLET POINTS WITH DESCRIPTIONS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36571" y="1548820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| 01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546783" y="1548820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4" y="2080519"/>
            <a:ext cx="5980386" cy="408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7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36571" y="2678157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| 02</a:t>
            </a:r>
          </a:p>
        </p:txBody>
      </p:sp>
      <p:sp>
        <p:nvSpPr>
          <p:cNvPr id="77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546783" y="2678157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7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25214" y="3209856"/>
            <a:ext cx="5475889" cy="408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79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36571" y="3809511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| 03</a:t>
            </a:r>
          </a:p>
        </p:txBody>
      </p:sp>
      <p:sp>
        <p:nvSpPr>
          <p:cNvPr id="80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1546783" y="3809511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81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725214" y="4341210"/>
            <a:ext cx="5707117" cy="392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5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736571" y="4927598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| 04</a:t>
            </a:r>
          </a:p>
        </p:txBody>
      </p:sp>
      <p:sp>
        <p:nvSpPr>
          <p:cNvPr id="86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1546783" y="4927598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87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725214" y="5459297"/>
            <a:ext cx="5085527" cy="392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9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9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7324058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 Strategy Slide - Icon/Symbol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5151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86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CON/SYMBOL BULLET POINTS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546782" y="1548820"/>
            <a:ext cx="5493795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4" hasCustomPrompt="1"/>
          </p:nvPr>
        </p:nvSpPr>
        <p:spPr>
          <a:xfrm>
            <a:off x="725213" y="1536239"/>
            <a:ext cx="726483" cy="584200"/>
          </a:xfrm>
          <a:prstGeom prst="rect">
            <a:avLst/>
          </a:prstGeom>
          <a:solidFill>
            <a:schemeClr val="accent3">
              <a:lumMod val="5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54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1546782" y="2362201"/>
            <a:ext cx="5751873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55" name="Picture Placeholder 5"/>
          <p:cNvSpPr>
            <a:spLocks noGrp="1"/>
          </p:cNvSpPr>
          <p:nvPr>
            <p:ph type="pic" sz="quarter" idx="26" hasCustomPrompt="1"/>
          </p:nvPr>
        </p:nvSpPr>
        <p:spPr>
          <a:xfrm>
            <a:off x="725213" y="2349620"/>
            <a:ext cx="726483" cy="584200"/>
          </a:xfrm>
          <a:prstGeom prst="rect">
            <a:avLst/>
          </a:prstGeom>
          <a:solidFill>
            <a:schemeClr val="accent3">
              <a:lumMod val="75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82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1546783" y="3191126"/>
            <a:ext cx="4801368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3" name="Picture Placeholder 5"/>
          <p:cNvSpPr>
            <a:spLocks noGrp="1"/>
          </p:cNvSpPr>
          <p:nvPr>
            <p:ph type="pic" sz="quarter" idx="28" hasCustomPrompt="1"/>
          </p:nvPr>
        </p:nvSpPr>
        <p:spPr>
          <a:xfrm>
            <a:off x="725213" y="3178545"/>
            <a:ext cx="726483" cy="584200"/>
          </a:xfrm>
          <a:prstGeom prst="rect">
            <a:avLst/>
          </a:prstGeom>
          <a:solidFill>
            <a:schemeClr val="accent3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84" name="Text Placeholder 9"/>
          <p:cNvSpPr>
            <a:spLocks noGrp="1"/>
          </p:cNvSpPr>
          <p:nvPr>
            <p:ph type="body" sz="quarter" idx="29" hasCustomPrompt="1"/>
          </p:nvPr>
        </p:nvSpPr>
        <p:spPr>
          <a:xfrm>
            <a:off x="1546783" y="4034623"/>
            <a:ext cx="5493794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br>
              <a:rPr lang="en-US"/>
            </a:b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8" name="Picture Placeholder 5"/>
          <p:cNvSpPr>
            <a:spLocks noGrp="1"/>
          </p:cNvSpPr>
          <p:nvPr>
            <p:ph type="pic" sz="quarter" idx="30" hasCustomPrompt="1"/>
          </p:nvPr>
        </p:nvSpPr>
        <p:spPr>
          <a:xfrm>
            <a:off x="725213" y="4022042"/>
            <a:ext cx="726483" cy="584200"/>
          </a:xfrm>
          <a:prstGeom prst="rect">
            <a:avLst/>
          </a:prstGeom>
          <a:solidFill>
            <a:schemeClr val="tx1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93" name="Text Placeholder 9"/>
          <p:cNvSpPr>
            <a:spLocks noGrp="1"/>
          </p:cNvSpPr>
          <p:nvPr>
            <p:ph type="body" sz="quarter" idx="31" hasCustomPrompt="1"/>
          </p:nvPr>
        </p:nvSpPr>
        <p:spPr>
          <a:xfrm>
            <a:off x="1546783" y="4874167"/>
            <a:ext cx="5863010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94" name="Picture Placeholder 5"/>
          <p:cNvSpPr>
            <a:spLocks noGrp="1"/>
          </p:cNvSpPr>
          <p:nvPr>
            <p:ph type="pic" sz="quarter" idx="32" hasCustomPrompt="1"/>
          </p:nvPr>
        </p:nvSpPr>
        <p:spPr>
          <a:xfrm>
            <a:off x="725213" y="4861586"/>
            <a:ext cx="726483" cy="584200"/>
          </a:xfrm>
          <a:prstGeom prst="rect">
            <a:avLst/>
          </a:prstGeom>
          <a:solidFill>
            <a:schemeClr val="tx2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9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9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9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42283222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 Strategy Slide - 5 Circle Icon/Symbol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9699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cxnSp>
        <p:nvCxnSpPr>
          <p:cNvPr id="92" name="Straight Connector 91"/>
          <p:cNvCxnSpPr/>
          <p:nvPr userDrawn="1"/>
        </p:nvCxnSpPr>
        <p:spPr>
          <a:xfrm>
            <a:off x="2069538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/>
          <p:nvPr userDrawn="1"/>
        </p:nvCxnSpPr>
        <p:spPr>
          <a:xfrm>
            <a:off x="4054400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1750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FIVE CIRCLE ICON/SYMBOLS WITH BULLET POINTS.</a:t>
            </a:r>
          </a:p>
        </p:txBody>
      </p:sp>
      <p:sp>
        <p:nvSpPr>
          <p:cNvPr id="80" name="Oval 79"/>
          <p:cNvSpPr/>
          <p:nvPr userDrawn="1"/>
        </p:nvSpPr>
        <p:spPr>
          <a:xfrm>
            <a:off x="1401475" y="1653167"/>
            <a:ext cx="1341345" cy="1341345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85" name="TextBox 84"/>
          <p:cNvSpPr txBox="1"/>
          <p:nvPr userDrawn="1"/>
        </p:nvSpPr>
        <p:spPr>
          <a:xfrm>
            <a:off x="1636402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5000">
                <a:solidFill>
                  <a:srgbClr val="FFFFFF"/>
                </a:solidFill>
              </a:rPr>
              <a:t>01</a:t>
            </a:r>
          </a:p>
        </p:txBody>
      </p:sp>
      <p:pic>
        <p:nvPicPr>
          <p:cNvPr id="86" name="Picture 85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7578" y="2424127"/>
            <a:ext cx="575529" cy="383686"/>
          </a:xfrm>
          <a:prstGeom prst="rect">
            <a:avLst/>
          </a:prstGeom>
        </p:spPr>
      </p:pic>
      <p:sp>
        <p:nvSpPr>
          <p:cNvPr id="10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232815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06" name="Oval 105"/>
          <p:cNvSpPr/>
          <p:nvPr userDrawn="1"/>
        </p:nvSpPr>
        <p:spPr>
          <a:xfrm>
            <a:off x="3386337" y="1653167"/>
            <a:ext cx="1341345" cy="1341345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107" name="TextBox 106"/>
          <p:cNvSpPr txBox="1"/>
          <p:nvPr userDrawn="1"/>
        </p:nvSpPr>
        <p:spPr>
          <a:xfrm>
            <a:off x="3621264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5000">
                <a:solidFill>
                  <a:srgbClr val="FFFFFF"/>
                </a:solidFill>
              </a:rPr>
              <a:t>02</a:t>
            </a:r>
          </a:p>
        </p:txBody>
      </p:sp>
      <p:sp>
        <p:nvSpPr>
          <p:cNvPr id="11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217677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99" name="Picture 98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5852" y="2409762"/>
            <a:ext cx="277095" cy="512721"/>
          </a:xfrm>
          <a:prstGeom prst="rect">
            <a:avLst/>
          </a:prstGeom>
        </p:spPr>
      </p:pic>
      <p:cxnSp>
        <p:nvCxnSpPr>
          <p:cNvPr id="112" name="Straight Connector 111"/>
          <p:cNvCxnSpPr/>
          <p:nvPr userDrawn="1"/>
        </p:nvCxnSpPr>
        <p:spPr>
          <a:xfrm>
            <a:off x="6044322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Oval 112"/>
          <p:cNvSpPr/>
          <p:nvPr userDrawn="1"/>
        </p:nvSpPr>
        <p:spPr>
          <a:xfrm>
            <a:off x="5376259" y="1653167"/>
            <a:ext cx="1341345" cy="1341345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114" name="TextBox 113"/>
          <p:cNvSpPr txBox="1"/>
          <p:nvPr userDrawn="1"/>
        </p:nvSpPr>
        <p:spPr>
          <a:xfrm>
            <a:off x="5611186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5000">
                <a:solidFill>
                  <a:srgbClr val="FFFFFF"/>
                </a:solidFill>
              </a:rPr>
              <a:t>03</a:t>
            </a:r>
          </a:p>
        </p:txBody>
      </p:sp>
      <p:sp>
        <p:nvSpPr>
          <p:cNvPr id="11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207599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98" name="Picture 97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75509" y="2370311"/>
            <a:ext cx="537625" cy="472590"/>
          </a:xfrm>
          <a:prstGeom prst="rect">
            <a:avLst/>
          </a:prstGeom>
        </p:spPr>
      </p:pic>
      <p:cxnSp>
        <p:nvCxnSpPr>
          <p:cNvPr id="118" name="Straight Connector 117"/>
          <p:cNvCxnSpPr/>
          <p:nvPr userDrawn="1"/>
        </p:nvCxnSpPr>
        <p:spPr>
          <a:xfrm>
            <a:off x="8017846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Oval 118"/>
          <p:cNvSpPr/>
          <p:nvPr userDrawn="1"/>
        </p:nvSpPr>
        <p:spPr>
          <a:xfrm>
            <a:off x="7349783" y="1653167"/>
            <a:ext cx="1341345" cy="1341345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120" name="TextBox 119"/>
          <p:cNvSpPr txBox="1"/>
          <p:nvPr userDrawn="1"/>
        </p:nvSpPr>
        <p:spPr>
          <a:xfrm>
            <a:off x="7584710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5000">
                <a:solidFill>
                  <a:srgbClr val="FFFFFF"/>
                </a:solidFill>
              </a:rPr>
              <a:t>04</a:t>
            </a:r>
          </a:p>
        </p:txBody>
      </p:sp>
      <p:sp>
        <p:nvSpPr>
          <p:cNvPr id="122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181123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100" name="Picture 99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1756" y="2406174"/>
            <a:ext cx="432179" cy="410414"/>
          </a:xfrm>
          <a:prstGeom prst="rect">
            <a:avLst/>
          </a:prstGeom>
        </p:spPr>
      </p:pic>
      <p:cxnSp>
        <p:nvCxnSpPr>
          <p:cNvPr id="124" name="Straight Connector 123"/>
          <p:cNvCxnSpPr/>
          <p:nvPr userDrawn="1"/>
        </p:nvCxnSpPr>
        <p:spPr>
          <a:xfrm>
            <a:off x="9988760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Oval 124"/>
          <p:cNvSpPr/>
          <p:nvPr userDrawn="1"/>
        </p:nvSpPr>
        <p:spPr>
          <a:xfrm>
            <a:off x="9320697" y="1653167"/>
            <a:ext cx="1341345" cy="134134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126" name="TextBox 125"/>
          <p:cNvSpPr txBox="1"/>
          <p:nvPr userDrawn="1"/>
        </p:nvSpPr>
        <p:spPr>
          <a:xfrm>
            <a:off x="9555624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5000">
                <a:solidFill>
                  <a:srgbClr val="FFFFFF"/>
                </a:solidFill>
              </a:rPr>
              <a:t>05</a:t>
            </a:r>
          </a:p>
        </p:txBody>
      </p:sp>
      <p:sp>
        <p:nvSpPr>
          <p:cNvPr id="12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52037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130" name="Picture 129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0669" y="2430632"/>
            <a:ext cx="596182" cy="340676"/>
          </a:xfrm>
          <a:prstGeom prst="rect">
            <a:avLst/>
          </a:prstGeom>
        </p:spPr>
      </p:pic>
      <p:sp>
        <p:nvSpPr>
          <p:cNvPr id="42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1232815" y="3524598"/>
            <a:ext cx="1672617" cy="396240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PEOPLE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3215559" y="3524598"/>
            <a:ext cx="1672617" cy="396240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PLACE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5208012" y="3524598"/>
            <a:ext cx="1672617" cy="396240"/>
          </a:xfrm>
          <a:prstGeom prst="rect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TIME</a:t>
            </a:r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7176317" y="3524598"/>
            <a:ext cx="1672617" cy="396240"/>
          </a:xfrm>
          <a:prstGeom prst="rect">
            <a:avLst/>
          </a:prstGeo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RESULT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9144622" y="3524598"/>
            <a:ext cx="1672617" cy="396240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FUTURE</a:t>
            </a:r>
          </a:p>
        </p:txBody>
      </p:sp>
      <p:sp>
        <p:nvSpPr>
          <p:cNvPr id="3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82986526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 Strategy Slide - 3 Numbered Boxes with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4903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58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NUMBERED BOXES WITH TEXT/BULLET POINTS.</a:t>
            </a:r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3044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73149" y="19337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841881" y="18508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41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9239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692649" y="19337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4461381" y="18508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613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5434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55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312149" y="19337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6" name="Oval 55"/>
          <p:cNvSpPr/>
          <p:nvPr userDrawn="1"/>
        </p:nvSpPr>
        <p:spPr>
          <a:xfrm>
            <a:off x="8080881" y="18508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080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62248287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 Strategy Slide - 6 Numbered Boxes with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578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31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NUMBERED BOXES WITH TEXT.</a:t>
            </a:r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3044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.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73149" y="19337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841881" y="18508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41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9239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</a:t>
            </a:r>
            <a:endParaRPr lang="en-US"/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692649" y="19337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4461381" y="18508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613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5434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55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312149" y="19337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6" name="Oval 55"/>
          <p:cNvSpPr/>
          <p:nvPr userDrawn="1"/>
        </p:nvSpPr>
        <p:spPr>
          <a:xfrm>
            <a:off x="8080881" y="18508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080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13044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</a:t>
            </a:r>
            <a:endParaRPr lang="en-US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1073149" y="41689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23" name="Oval 22"/>
          <p:cNvSpPr/>
          <p:nvPr userDrawn="1"/>
        </p:nvSpPr>
        <p:spPr>
          <a:xfrm>
            <a:off x="841881" y="40860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8418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49239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4692649" y="41689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27" name="Oval 26"/>
          <p:cNvSpPr/>
          <p:nvPr userDrawn="1"/>
        </p:nvSpPr>
        <p:spPr>
          <a:xfrm>
            <a:off x="4461381" y="40860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28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44613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0" hasCustomPrompt="1"/>
          </p:nvPr>
        </p:nvSpPr>
        <p:spPr>
          <a:xfrm>
            <a:off x="85434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.</a:t>
            </a:r>
          </a:p>
        </p:txBody>
      </p:sp>
      <p:sp>
        <p:nvSpPr>
          <p:cNvPr id="30" name="Text Placeholder 8"/>
          <p:cNvSpPr>
            <a:spLocks noGrp="1"/>
          </p:cNvSpPr>
          <p:nvPr>
            <p:ph type="body" sz="quarter" idx="31" hasCustomPrompt="1"/>
          </p:nvPr>
        </p:nvSpPr>
        <p:spPr>
          <a:xfrm>
            <a:off x="8312149" y="41689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31" name="Oval 30"/>
          <p:cNvSpPr/>
          <p:nvPr userDrawn="1"/>
        </p:nvSpPr>
        <p:spPr>
          <a:xfrm>
            <a:off x="8080881" y="40860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32" name="Text Placeholder 10"/>
          <p:cNvSpPr>
            <a:spLocks noGrp="1"/>
          </p:cNvSpPr>
          <p:nvPr>
            <p:ph type="body" sz="quarter" idx="32" hasCustomPrompt="1"/>
          </p:nvPr>
        </p:nvSpPr>
        <p:spPr>
          <a:xfrm>
            <a:off x="80808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3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3755751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 Strategy Slide - Large Bol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7503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050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LARGE BOLD TEXT FOR CREATIVE INTEREST.</a:t>
            </a:r>
          </a:p>
        </p:txBody>
      </p:sp>
      <p:sp>
        <p:nvSpPr>
          <p:cNvPr id="44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10348785" cy="43800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4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4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46931293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 Strategy Slide - Intro Text, Bullets and On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8798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548877" y="1568107"/>
            <a:ext cx="4324035" cy="4411663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ONE GRAPH/CHART AND TEXT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7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7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0750028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. Strategy Slide - 2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9724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WO GRAPHS/CHART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6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7"/>
            <a:ext cx="5116786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45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6198550" y="1876657"/>
            <a:ext cx="5116786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8549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198550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7632152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. Strategy Slide - 3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6780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1225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GRAPHS/CHART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0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6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4379234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7923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9" name="Chart Placeholder 4"/>
          <p:cNvSpPr>
            <a:spLocks noGrp="1"/>
          </p:cNvSpPr>
          <p:nvPr>
            <p:ph type="chart" sz="quarter" idx="18" hasCustomPrompt="1"/>
          </p:nvPr>
        </p:nvSpPr>
        <p:spPr>
          <a:xfrm>
            <a:off x="8046320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046319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01457849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. Strategy Slide - 6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861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362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GRAPHS/CHART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0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8"/>
            <a:ext cx="3167517" cy="16417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6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4379234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9" name="Chart Placeholder 4"/>
          <p:cNvSpPr>
            <a:spLocks noGrp="1"/>
          </p:cNvSpPr>
          <p:nvPr>
            <p:ph type="chart" sz="quarter" idx="18" hasCustomPrompt="1"/>
          </p:nvPr>
        </p:nvSpPr>
        <p:spPr>
          <a:xfrm>
            <a:off x="8046320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8" name="Chart Placeholder 4"/>
          <p:cNvSpPr>
            <a:spLocks noGrp="1"/>
          </p:cNvSpPr>
          <p:nvPr>
            <p:ph type="chart" sz="quarter" idx="21" hasCustomPrompt="1"/>
          </p:nvPr>
        </p:nvSpPr>
        <p:spPr>
          <a:xfrm>
            <a:off x="725214" y="4293286"/>
            <a:ext cx="3167517" cy="16417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2521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23" hasCustomPrompt="1"/>
          </p:nvPr>
        </p:nvSpPr>
        <p:spPr>
          <a:xfrm>
            <a:off x="4379234" y="429328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7923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2" name="Chart Placeholder 4"/>
          <p:cNvSpPr>
            <a:spLocks noGrp="1"/>
          </p:cNvSpPr>
          <p:nvPr>
            <p:ph type="chart" sz="quarter" idx="25" hasCustomPrompt="1"/>
          </p:nvPr>
        </p:nvSpPr>
        <p:spPr>
          <a:xfrm>
            <a:off x="8046320" y="429328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046320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725214" y="3735977"/>
            <a:ext cx="1048862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70215558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. Strategy Slide - Table 9 Rows /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0469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78" imgH="377" progId="TCLayout.ActiveDocument.1">
                  <p:embed/>
                </p:oleObj>
              </mc:Choice>
              <mc:Fallback>
                <p:oleObj name="Diapositiva de think-cell" r:id="rId5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349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ABLE 9 ROWS AND 9 COLUMNS</a:t>
            </a:r>
          </a:p>
        </p:txBody>
      </p:sp>
      <p:graphicFrame>
        <p:nvGraphicFramePr>
          <p:cNvPr id="33" name="Group 3"/>
          <p:cNvGraphicFramePr>
            <a:graphicFrameLocks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27071474"/>
              </p:ext>
            </p:extLst>
          </p:nvPr>
        </p:nvGraphicFramePr>
        <p:xfrm>
          <a:off x="783770" y="1534944"/>
          <a:ext cx="10377812" cy="4317034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16969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3161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1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34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5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36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0610168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. Strategy Slide - Table 4 Rows /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7100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78" imgH="377" progId="TCLayout.ActiveDocument.1">
                  <p:embed/>
                </p:oleObj>
              </mc:Choice>
              <mc:Fallback>
                <p:oleObj name="Diapositiva de think-cell" r:id="rId5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511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ABLE 3 COLUMNS 4 ROWS</a:t>
            </a:r>
          </a:p>
        </p:txBody>
      </p:sp>
      <p:graphicFrame>
        <p:nvGraphicFramePr>
          <p:cNvPr id="34" name="Group 4"/>
          <p:cNvGraphicFramePr>
            <a:graphicFrameLocks noGrp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52135947"/>
              </p:ext>
            </p:extLst>
          </p:nvPr>
        </p:nvGraphicFramePr>
        <p:xfrm>
          <a:off x="954157" y="1584125"/>
          <a:ext cx="10207427" cy="4260849"/>
        </p:xfrm>
        <a:graphic>
          <a:graphicData uri="http://schemas.openxmlformats.org/drawingml/2006/table">
            <a:tbl>
              <a:tblPr/>
              <a:tblGrid>
                <a:gridCol w="11565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1942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endParaRPr kumimoji="0" lang="en-US" sz="1100" b="0" i="1" u="none" strike="noStrike" cap="none" normalizeH="0" baseline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</a:endParaRP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71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..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9141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9383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3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889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4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3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24564254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. Strategy Slide - 1 Tab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4048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4" hasCustomPrompt="1"/>
          </p:nvPr>
        </p:nvSpPr>
        <p:spPr>
          <a:xfrm>
            <a:off x="7547605" y="1568107"/>
            <a:ext cx="4325307" cy="441166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033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ONE TABLE AND TEXT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7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7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84018334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. Strategy Slide - 2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4708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WO TABLE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8549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198550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15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725213" y="1876657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6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6198548" y="1876657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09266383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. Strategy Slide - 3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66444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TABLE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7923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046319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8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725213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9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4379232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0" name="Table Placeholder 5"/>
          <p:cNvSpPr>
            <a:spLocks noGrp="1"/>
          </p:cNvSpPr>
          <p:nvPr>
            <p:ph type="tbl" sz="quarter" idx="23" hasCustomPrompt="1"/>
          </p:nvPr>
        </p:nvSpPr>
        <p:spPr>
          <a:xfrm>
            <a:off x="8033882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35887754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. Strategy Slide - 6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11741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67971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TABLES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2521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7923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046320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725214" y="3735977"/>
            <a:ext cx="1048862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able Placeholder 5"/>
          <p:cNvSpPr>
            <a:spLocks noGrp="1"/>
          </p:cNvSpPr>
          <p:nvPr>
            <p:ph type="tbl" sz="quarter" idx="27" hasCustomPrompt="1"/>
          </p:nvPr>
        </p:nvSpPr>
        <p:spPr>
          <a:xfrm>
            <a:off x="725213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5" name="Table Placeholder 5"/>
          <p:cNvSpPr>
            <a:spLocks noGrp="1"/>
          </p:cNvSpPr>
          <p:nvPr>
            <p:ph type="tbl" sz="quarter" idx="28" hasCustomPrompt="1"/>
          </p:nvPr>
        </p:nvSpPr>
        <p:spPr>
          <a:xfrm>
            <a:off x="4379233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6" name="Table Placeholder 5"/>
          <p:cNvSpPr>
            <a:spLocks noGrp="1"/>
          </p:cNvSpPr>
          <p:nvPr>
            <p:ph type="tbl" sz="quarter" idx="29" hasCustomPrompt="1"/>
          </p:nvPr>
        </p:nvSpPr>
        <p:spPr>
          <a:xfrm>
            <a:off x="8046320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7" name="Table Placeholder 5"/>
          <p:cNvSpPr>
            <a:spLocks noGrp="1"/>
          </p:cNvSpPr>
          <p:nvPr>
            <p:ph type="tbl" sz="quarter" idx="30" hasCustomPrompt="1"/>
          </p:nvPr>
        </p:nvSpPr>
        <p:spPr>
          <a:xfrm>
            <a:off x="725213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8" name="Table Placeholder 5"/>
          <p:cNvSpPr>
            <a:spLocks noGrp="1"/>
          </p:cNvSpPr>
          <p:nvPr>
            <p:ph type="tbl" sz="quarter" idx="31" hasCustomPrompt="1"/>
          </p:nvPr>
        </p:nvSpPr>
        <p:spPr>
          <a:xfrm>
            <a:off x="4379233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9" name="Table Placeholder 5"/>
          <p:cNvSpPr>
            <a:spLocks noGrp="1"/>
          </p:cNvSpPr>
          <p:nvPr>
            <p:ph type="tbl" sz="quarter" idx="32" hasCustomPrompt="1"/>
          </p:nvPr>
        </p:nvSpPr>
        <p:spPr>
          <a:xfrm>
            <a:off x="8046320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3497229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 Strategy Slide - Large Bold 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481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86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LARGE BOLD TEXT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5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6444347" cy="32050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s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</a:t>
            </a:r>
          </a:p>
        </p:txBody>
      </p:sp>
      <p:sp>
        <p:nvSpPr>
          <p:cNvPr id="7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7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83879104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. Strategy Slide - Process Closed Lo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2945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472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PROCESS CLOSED LOOP WITH INTRO TEXT AND BULLETS</a:t>
            </a:r>
          </a:p>
        </p:txBody>
      </p:sp>
      <p:grpSp>
        <p:nvGrpSpPr>
          <p:cNvPr id="33" name="Group 32"/>
          <p:cNvGrpSpPr/>
          <p:nvPr userDrawn="1"/>
        </p:nvGrpSpPr>
        <p:grpSpPr>
          <a:xfrm>
            <a:off x="6152742" y="1530826"/>
            <a:ext cx="5205413" cy="4535487"/>
            <a:chOff x="1905000" y="1773238"/>
            <a:chExt cx="5205413" cy="4535487"/>
          </a:xfrm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34" name="Freeform 33"/>
            <p:cNvSpPr>
              <a:spLocks/>
            </p:cNvSpPr>
            <p:nvPr/>
          </p:nvSpPr>
          <p:spPr bwMode="blackWhite">
            <a:xfrm>
              <a:off x="5729288" y="3216275"/>
              <a:ext cx="1381125" cy="1874838"/>
            </a:xfrm>
            <a:custGeom>
              <a:avLst/>
              <a:gdLst>
                <a:gd name="T0" fmla="*/ 461616 w 852"/>
                <a:gd name="T1" fmla="*/ 1873218 h 1157"/>
                <a:gd name="T2" fmla="*/ 1493670 w 852"/>
                <a:gd name="T3" fmla="*/ 1852152 h 1157"/>
                <a:gd name="T4" fmla="*/ 1172469 w 852"/>
                <a:gd name="T5" fmla="*/ 1672284 h 1157"/>
                <a:gd name="T6" fmla="*/ 1233901 w 852"/>
                <a:gd name="T7" fmla="*/ 1552372 h 1157"/>
                <a:gd name="T8" fmla="*/ 1286557 w 852"/>
                <a:gd name="T9" fmla="*/ 1429219 h 1157"/>
                <a:gd name="T10" fmla="*/ 1330437 w 852"/>
                <a:gd name="T11" fmla="*/ 1302826 h 1157"/>
                <a:gd name="T12" fmla="*/ 1360275 w 852"/>
                <a:gd name="T13" fmla="*/ 1171571 h 1157"/>
                <a:gd name="T14" fmla="*/ 1386603 w 852"/>
                <a:gd name="T15" fmla="*/ 1040316 h 1157"/>
                <a:gd name="T16" fmla="*/ 1400645 w 852"/>
                <a:gd name="T17" fmla="*/ 909061 h 1157"/>
                <a:gd name="T18" fmla="*/ 1405910 w 852"/>
                <a:gd name="T19" fmla="*/ 774566 h 1157"/>
                <a:gd name="T20" fmla="*/ 1400645 w 852"/>
                <a:gd name="T21" fmla="*/ 640070 h 1157"/>
                <a:gd name="T22" fmla="*/ 1384848 w 852"/>
                <a:gd name="T23" fmla="*/ 508815 h 1157"/>
                <a:gd name="T24" fmla="*/ 1360275 w 852"/>
                <a:gd name="T25" fmla="*/ 377560 h 1157"/>
                <a:gd name="T26" fmla="*/ 1326926 w 852"/>
                <a:gd name="T27" fmla="*/ 247926 h 1157"/>
                <a:gd name="T28" fmla="*/ 1281291 w 852"/>
                <a:gd name="T29" fmla="*/ 121532 h 1157"/>
                <a:gd name="T30" fmla="*/ 1230391 w 852"/>
                <a:gd name="T31" fmla="*/ 0 h 1157"/>
                <a:gd name="T32" fmla="*/ 956581 w 852"/>
                <a:gd name="T33" fmla="*/ 479647 h 1157"/>
                <a:gd name="T34" fmla="*/ 365080 w 852"/>
                <a:gd name="T35" fmla="*/ 471545 h 1157"/>
                <a:gd name="T36" fmla="*/ 389653 w 852"/>
                <a:gd name="T37" fmla="*/ 559048 h 1157"/>
                <a:gd name="T38" fmla="*/ 405450 w 852"/>
                <a:gd name="T39" fmla="*/ 651413 h 1157"/>
                <a:gd name="T40" fmla="*/ 412470 w 852"/>
                <a:gd name="T41" fmla="*/ 743777 h 1157"/>
                <a:gd name="T42" fmla="*/ 410715 w 852"/>
                <a:gd name="T43" fmla="*/ 832901 h 1157"/>
                <a:gd name="T44" fmla="*/ 401939 w 852"/>
                <a:gd name="T45" fmla="*/ 925266 h 1157"/>
                <a:gd name="T46" fmla="*/ 380877 w 852"/>
                <a:gd name="T47" fmla="*/ 1016010 h 1157"/>
                <a:gd name="T48" fmla="*/ 356304 w 852"/>
                <a:gd name="T49" fmla="*/ 1106754 h 1157"/>
                <a:gd name="T50" fmla="*/ 317690 w 852"/>
                <a:gd name="T51" fmla="*/ 1189396 h 1157"/>
                <a:gd name="T52" fmla="*/ 0 w 852"/>
                <a:gd name="T53" fmla="*/ 1017630 h 1157"/>
                <a:gd name="T54" fmla="*/ 461616 w 852"/>
                <a:gd name="T55" fmla="*/ 1873218 h 115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852"/>
                <a:gd name="T85" fmla="*/ 0 h 1157"/>
                <a:gd name="T86" fmla="*/ 852 w 852"/>
                <a:gd name="T87" fmla="*/ 1157 h 115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852" h="1157">
                  <a:moveTo>
                    <a:pt x="263" y="1156"/>
                  </a:moveTo>
                  <a:lnTo>
                    <a:pt x="851" y="1143"/>
                  </a:lnTo>
                  <a:lnTo>
                    <a:pt x="668" y="1032"/>
                  </a:lnTo>
                  <a:lnTo>
                    <a:pt x="703" y="958"/>
                  </a:lnTo>
                  <a:lnTo>
                    <a:pt x="733" y="882"/>
                  </a:lnTo>
                  <a:lnTo>
                    <a:pt x="758" y="804"/>
                  </a:lnTo>
                  <a:lnTo>
                    <a:pt x="775" y="723"/>
                  </a:lnTo>
                  <a:lnTo>
                    <a:pt x="790" y="642"/>
                  </a:lnTo>
                  <a:lnTo>
                    <a:pt x="798" y="561"/>
                  </a:lnTo>
                  <a:lnTo>
                    <a:pt x="801" y="478"/>
                  </a:lnTo>
                  <a:lnTo>
                    <a:pt x="798" y="395"/>
                  </a:lnTo>
                  <a:lnTo>
                    <a:pt x="789" y="314"/>
                  </a:lnTo>
                  <a:lnTo>
                    <a:pt x="775" y="233"/>
                  </a:lnTo>
                  <a:lnTo>
                    <a:pt x="756" y="153"/>
                  </a:lnTo>
                  <a:lnTo>
                    <a:pt x="730" y="75"/>
                  </a:lnTo>
                  <a:lnTo>
                    <a:pt x="701" y="0"/>
                  </a:lnTo>
                  <a:lnTo>
                    <a:pt x="545" y="296"/>
                  </a:lnTo>
                  <a:lnTo>
                    <a:pt x="208" y="291"/>
                  </a:lnTo>
                  <a:lnTo>
                    <a:pt x="222" y="345"/>
                  </a:lnTo>
                  <a:lnTo>
                    <a:pt x="231" y="402"/>
                  </a:lnTo>
                  <a:lnTo>
                    <a:pt x="235" y="459"/>
                  </a:lnTo>
                  <a:lnTo>
                    <a:pt x="234" y="514"/>
                  </a:lnTo>
                  <a:lnTo>
                    <a:pt x="229" y="571"/>
                  </a:lnTo>
                  <a:lnTo>
                    <a:pt x="217" y="627"/>
                  </a:lnTo>
                  <a:lnTo>
                    <a:pt x="203" y="683"/>
                  </a:lnTo>
                  <a:lnTo>
                    <a:pt x="181" y="734"/>
                  </a:lnTo>
                  <a:lnTo>
                    <a:pt x="0" y="628"/>
                  </a:lnTo>
                  <a:lnTo>
                    <a:pt x="263" y="1156"/>
                  </a:lnTo>
                </a:path>
              </a:pathLst>
            </a:custGeom>
            <a:solidFill>
              <a:schemeClr val="accent3"/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rgbClr val="FFFFFF"/>
                </a:solidFill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blackWhite">
            <a:xfrm>
              <a:off x="5221288" y="2070100"/>
              <a:ext cx="1797050" cy="1557338"/>
            </a:xfrm>
            <a:custGeom>
              <a:avLst/>
              <a:gdLst>
                <a:gd name="T0" fmla="*/ 2147483647 w 1109"/>
                <a:gd name="T1" fmla="*/ 2147483647 h 962"/>
                <a:gd name="T2" fmla="*/ 2147483647 w 1109"/>
                <a:gd name="T3" fmla="*/ 2147483647 h 962"/>
                <a:gd name="T4" fmla="*/ 2147483647 w 1109"/>
                <a:gd name="T5" fmla="*/ 2147483647 h 962"/>
                <a:gd name="T6" fmla="*/ 2147483647 w 1109"/>
                <a:gd name="T7" fmla="*/ 2147483647 h 962"/>
                <a:gd name="T8" fmla="*/ 2147483647 w 1109"/>
                <a:gd name="T9" fmla="*/ 2147483647 h 962"/>
                <a:gd name="T10" fmla="*/ 2147483647 w 1109"/>
                <a:gd name="T11" fmla="*/ 2147483647 h 962"/>
                <a:gd name="T12" fmla="*/ 2147483647 w 1109"/>
                <a:gd name="T13" fmla="*/ 2147483647 h 962"/>
                <a:gd name="T14" fmla="*/ 2147483647 w 1109"/>
                <a:gd name="T15" fmla="*/ 2147483647 h 962"/>
                <a:gd name="T16" fmla="*/ 2147483647 w 1109"/>
                <a:gd name="T17" fmla="*/ 2147483647 h 962"/>
                <a:gd name="T18" fmla="*/ 2147483647 w 1109"/>
                <a:gd name="T19" fmla="*/ 2147483647 h 962"/>
                <a:gd name="T20" fmla="*/ 2147483647 w 1109"/>
                <a:gd name="T21" fmla="*/ 2147483647 h 962"/>
                <a:gd name="T22" fmla="*/ 2147483647 w 1109"/>
                <a:gd name="T23" fmla="*/ 2147483647 h 962"/>
                <a:gd name="T24" fmla="*/ 2147483647 w 1109"/>
                <a:gd name="T25" fmla="*/ 2147483647 h 962"/>
                <a:gd name="T26" fmla="*/ 2147483647 w 1109"/>
                <a:gd name="T27" fmla="*/ 2147483647 h 962"/>
                <a:gd name="T28" fmla="*/ 2147483647 w 1109"/>
                <a:gd name="T29" fmla="*/ 2147483647 h 962"/>
                <a:gd name="T30" fmla="*/ 2147483647 w 1109"/>
                <a:gd name="T31" fmla="*/ 2147483647 h 962"/>
                <a:gd name="T32" fmla="*/ 2147483647 w 1109"/>
                <a:gd name="T33" fmla="*/ 2147483647 h 962"/>
                <a:gd name="T34" fmla="*/ 2147483647 w 1109"/>
                <a:gd name="T35" fmla="*/ 2147483647 h 962"/>
                <a:gd name="T36" fmla="*/ 2147483647 w 1109"/>
                <a:gd name="T37" fmla="*/ 2147483647 h 962"/>
                <a:gd name="T38" fmla="*/ 0 w 1109"/>
                <a:gd name="T39" fmla="*/ 0 h 962"/>
                <a:gd name="T40" fmla="*/ 2147483647 w 1109"/>
                <a:gd name="T41" fmla="*/ 2147483647 h 962"/>
                <a:gd name="T42" fmla="*/ 2147483647 w 1109"/>
                <a:gd name="T43" fmla="*/ 2147483647 h 962"/>
                <a:gd name="T44" fmla="*/ 2147483647 w 1109"/>
                <a:gd name="T45" fmla="*/ 2147483647 h 962"/>
                <a:gd name="T46" fmla="*/ 2147483647 w 1109"/>
                <a:gd name="T47" fmla="*/ 2147483647 h 962"/>
                <a:gd name="T48" fmla="*/ 2147483647 w 1109"/>
                <a:gd name="T49" fmla="*/ 2147483647 h 962"/>
                <a:gd name="T50" fmla="*/ 2147483647 w 1109"/>
                <a:gd name="T51" fmla="*/ 2147483647 h 962"/>
                <a:gd name="T52" fmla="*/ 2147483647 w 1109"/>
                <a:gd name="T53" fmla="*/ 2147483647 h 962"/>
                <a:gd name="T54" fmla="*/ 2147483647 w 1109"/>
                <a:gd name="T55" fmla="*/ 2147483647 h 962"/>
                <a:gd name="T56" fmla="*/ 2147483647 w 1109"/>
                <a:gd name="T57" fmla="*/ 2147483647 h 962"/>
                <a:gd name="T58" fmla="*/ 2147483647 w 1109"/>
                <a:gd name="T59" fmla="*/ 2147483647 h 962"/>
                <a:gd name="T60" fmla="*/ 2147483647 w 1109"/>
                <a:gd name="T61" fmla="*/ 2147483647 h 9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109"/>
                <a:gd name="T94" fmla="*/ 0 h 962"/>
                <a:gd name="T95" fmla="*/ 1109 w 1109"/>
                <a:gd name="T96" fmla="*/ 962 h 9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109" h="962">
                  <a:moveTo>
                    <a:pt x="246" y="959"/>
                  </a:moveTo>
                  <a:lnTo>
                    <a:pt x="839" y="961"/>
                  </a:lnTo>
                  <a:lnTo>
                    <a:pt x="934" y="786"/>
                  </a:lnTo>
                  <a:lnTo>
                    <a:pt x="1023" y="611"/>
                  </a:lnTo>
                  <a:lnTo>
                    <a:pt x="1108" y="429"/>
                  </a:lnTo>
                  <a:lnTo>
                    <a:pt x="930" y="539"/>
                  </a:lnTo>
                  <a:lnTo>
                    <a:pt x="885" y="471"/>
                  </a:lnTo>
                  <a:lnTo>
                    <a:pt x="837" y="406"/>
                  </a:lnTo>
                  <a:lnTo>
                    <a:pt x="783" y="344"/>
                  </a:lnTo>
                  <a:lnTo>
                    <a:pt x="724" y="287"/>
                  </a:lnTo>
                  <a:lnTo>
                    <a:pt x="663" y="235"/>
                  </a:lnTo>
                  <a:lnTo>
                    <a:pt x="598" y="188"/>
                  </a:lnTo>
                  <a:lnTo>
                    <a:pt x="530" y="145"/>
                  </a:lnTo>
                  <a:lnTo>
                    <a:pt x="460" y="107"/>
                  </a:lnTo>
                  <a:lnTo>
                    <a:pt x="387" y="75"/>
                  </a:lnTo>
                  <a:lnTo>
                    <a:pt x="311" y="48"/>
                  </a:lnTo>
                  <a:lnTo>
                    <a:pt x="236" y="27"/>
                  </a:lnTo>
                  <a:lnTo>
                    <a:pt x="158" y="12"/>
                  </a:lnTo>
                  <a:lnTo>
                    <a:pt x="79" y="2"/>
                  </a:lnTo>
                  <a:lnTo>
                    <a:pt x="0" y="0"/>
                  </a:lnTo>
                  <a:lnTo>
                    <a:pt x="210" y="277"/>
                  </a:lnTo>
                  <a:lnTo>
                    <a:pt x="80" y="601"/>
                  </a:lnTo>
                  <a:lnTo>
                    <a:pt x="134" y="614"/>
                  </a:lnTo>
                  <a:lnTo>
                    <a:pt x="186" y="631"/>
                  </a:lnTo>
                  <a:lnTo>
                    <a:pt x="236" y="654"/>
                  </a:lnTo>
                  <a:lnTo>
                    <a:pt x="283" y="681"/>
                  </a:lnTo>
                  <a:lnTo>
                    <a:pt x="328" y="715"/>
                  </a:lnTo>
                  <a:lnTo>
                    <a:pt x="370" y="752"/>
                  </a:lnTo>
                  <a:lnTo>
                    <a:pt x="408" y="792"/>
                  </a:lnTo>
                  <a:lnTo>
                    <a:pt x="446" y="837"/>
                  </a:lnTo>
                  <a:lnTo>
                    <a:pt x="246" y="959"/>
                  </a:lnTo>
                </a:path>
              </a:pathLst>
            </a:custGeom>
            <a:solidFill>
              <a:schemeClr val="accent3">
                <a:lumMod val="75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rgbClr val="FFFFFF"/>
                </a:solidFill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blackWhite">
            <a:xfrm>
              <a:off x="1905000" y="1773238"/>
              <a:ext cx="3573463" cy="1779587"/>
            </a:xfrm>
            <a:custGeom>
              <a:avLst/>
              <a:gdLst>
                <a:gd name="T0" fmla="*/ 0 w 2206"/>
                <a:gd name="T1" fmla="*/ 2147483647 h 1099"/>
                <a:gd name="T2" fmla="*/ 2147483647 w 2206"/>
                <a:gd name="T3" fmla="*/ 2147483647 h 1099"/>
                <a:gd name="T4" fmla="*/ 2147483647 w 2206"/>
                <a:gd name="T5" fmla="*/ 2147483647 h 1099"/>
                <a:gd name="T6" fmla="*/ 2147483647 w 2206"/>
                <a:gd name="T7" fmla="*/ 2147483647 h 1099"/>
                <a:gd name="T8" fmla="*/ 2147483647 w 2206"/>
                <a:gd name="T9" fmla="*/ 2147483647 h 1099"/>
                <a:gd name="T10" fmla="*/ 2147483647 w 2206"/>
                <a:gd name="T11" fmla="*/ 2147483647 h 1099"/>
                <a:gd name="T12" fmla="*/ 2147483647 w 2206"/>
                <a:gd name="T13" fmla="*/ 2147483647 h 1099"/>
                <a:gd name="T14" fmla="*/ 2147483647 w 2206"/>
                <a:gd name="T15" fmla="*/ 2147483647 h 1099"/>
                <a:gd name="T16" fmla="*/ 2147483647 w 2206"/>
                <a:gd name="T17" fmla="*/ 2147483647 h 1099"/>
                <a:gd name="T18" fmla="*/ 2147483647 w 2206"/>
                <a:gd name="T19" fmla="*/ 2147483647 h 1099"/>
                <a:gd name="T20" fmla="*/ 2147483647 w 2206"/>
                <a:gd name="T21" fmla="*/ 2147483647 h 1099"/>
                <a:gd name="T22" fmla="*/ 2147483647 w 2206"/>
                <a:gd name="T23" fmla="*/ 2147483647 h 1099"/>
                <a:gd name="T24" fmla="*/ 2147483647 w 2206"/>
                <a:gd name="T25" fmla="*/ 2147483647 h 1099"/>
                <a:gd name="T26" fmla="*/ 2147483647 w 2206"/>
                <a:gd name="T27" fmla="*/ 2147483647 h 1099"/>
                <a:gd name="T28" fmla="*/ 2147483647 w 2206"/>
                <a:gd name="T29" fmla="*/ 0 h 1099"/>
                <a:gd name="T30" fmla="*/ 2147483647 w 2206"/>
                <a:gd name="T31" fmla="*/ 2147483647 h 1099"/>
                <a:gd name="T32" fmla="*/ 0 w 2206"/>
                <a:gd name="T33" fmla="*/ 2147483647 h 1099"/>
                <a:gd name="T34" fmla="*/ 0 w 2206"/>
                <a:gd name="T35" fmla="*/ 2147483647 h 109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206"/>
                <a:gd name="T55" fmla="*/ 0 h 1099"/>
                <a:gd name="T56" fmla="*/ 2206 w 2206"/>
                <a:gd name="T57" fmla="*/ 1099 h 109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206" h="1099">
                  <a:moveTo>
                    <a:pt x="0" y="864"/>
                  </a:moveTo>
                  <a:lnTo>
                    <a:pt x="1339" y="864"/>
                  </a:lnTo>
                  <a:lnTo>
                    <a:pt x="1552" y="1098"/>
                  </a:lnTo>
                  <a:lnTo>
                    <a:pt x="1587" y="1045"/>
                  </a:lnTo>
                  <a:lnTo>
                    <a:pt x="1625" y="996"/>
                  </a:lnTo>
                  <a:lnTo>
                    <a:pt x="1666" y="948"/>
                  </a:lnTo>
                  <a:lnTo>
                    <a:pt x="1711" y="906"/>
                  </a:lnTo>
                  <a:lnTo>
                    <a:pt x="1754" y="872"/>
                  </a:lnTo>
                  <a:lnTo>
                    <a:pt x="1800" y="845"/>
                  </a:lnTo>
                  <a:lnTo>
                    <a:pt x="1850" y="822"/>
                  </a:lnTo>
                  <a:lnTo>
                    <a:pt x="1900" y="803"/>
                  </a:lnTo>
                  <a:lnTo>
                    <a:pt x="1953" y="790"/>
                  </a:lnTo>
                  <a:lnTo>
                    <a:pt x="1983" y="1013"/>
                  </a:lnTo>
                  <a:lnTo>
                    <a:pt x="2205" y="471"/>
                  </a:lnTo>
                  <a:lnTo>
                    <a:pt x="1872" y="0"/>
                  </a:lnTo>
                  <a:lnTo>
                    <a:pt x="1873" y="196"/>
                  </a:lnTo>
                  <a:lnTo>
                    <a:pt x="0" y="196"/>
                  </a:lnTo>
                  <a:lnTo>
                    <a:pt x="0" y="864"/>
                  </a:lnTo>
                </a:path>
              </a:pathLst>
            </a:custGeom>
            <a:solidFill>
              <a:schemeClr val="accent3">
                <a:lumMod val="5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rgbClr val="FFFFFF"/>
                </a:solidFill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blackWhite">
            <a:xfrm>
              <a:off x="4867275" y="4592638"/>
              <a:ext cx="1806575" cy="1716087"/>
            </a:xfrm>
            <a:custGeom>
              <a:avLst/>
              <a:gdLst>
                <a:gd name="T0" fmla="*/ 0 w 1115"/>
                <a:gd name="T1" fmla="*/ 857233 h 1059"/>
                <a:gd name="T2" fmla="*/ 489786 w 1115"/>
                <a:gd name="T3" fmla="*/ 1714467 h 1059"/>
                <a:gd name="T4" fmla="*/ 489786 w 1115"/>
                <a:gd name="T5" fmla="*/ 1320690 h 1059"/>
                <a:gd name="T6" fmla="*/ 619693 w 1115"/>
                <a:gd name="T7" fmla="*/ 1309347 h 1059"/>
                <a:gd name="T8" fmla="*/ 753111 w 1115"/>
                <a:gd name="T9" fmla="*/ 1288280 h 1059"/>
                <a:gd name="T10" fmla="*/ 881263 w 1115"/>
                <a:gd name="T11" fmla="*/ 1259112 h 1059"/>
                <a:gd name="T12" fmla="*/ 1005904 w 1115"/>
                <a:gd name="T13" fmla="*/ 1221841 h 1059"/>
                <a:gd name="T14" fmla="*/ 1128789 w 1115"/>
                <a:gd name="T15" fmla="*/ 1176467 h 1059"/>
                <a:gd name="T16" fmla="*/ 1249919 w 1115"/>
                <a:gd name="T17" fmla="*/ 1122992 h 1059"/>
                <a:gd name="T18" fmla="*/ 1365782 w 1115"/>
                <a:gd name="T19" fmla="*/ 1061413 h 1059"/>
                <a:gd name="T20" fmla="*/ 1479890 w 1115"/>
                <a:gd name="T21" fmla="*/ 993353 h 1059"/>
                <a:gd name="T22" fmla="*/ 1581709 w 1115"/>
                <a:gd name="T23" fmla="*/ 913950 h 1059"/>
                <a:gd name="T24" fmla="*/ 1687039 w 1115"/>
                <a:gd name="T25" fmla="*/ 831306 h 1059"/>
                <a:gd name="T26" fmla="*/ 1781836 w 1115"/>
                <a:gd name="T27" fmla="*/ 738938 h 1059"/>
                <a:gd name="T28" fmla="*/ 1874878 w 1115"/>
                <a:gd name="T29" fmla="*/ 640089 h 1059"/>
                <a:gd name="T30" fmla="*/ 1955631 w 1115"/>
                <a:gd name="T31" fmla="*/ 539619 h 1059"/>
                <a:gd name="T32" fmla="*/ 1362271 w 1115"/>
                <a:gd name="T33" fmla="*/ 570408 h 1059"/>
                <a:gd name="T34" fmla="*/ 1093679 w 1115"/>
                <a:gd name="T35" fmla="*/ 58337 h 1059"/>
                <a:gd name="T36" fmla="*/ 1037503 w 1115"/>
                <a:gd name="T37" fmla="*/ 111813 h 1059"/>
                <a:gd name="T38" fmla="*/ 977816 w 1115"/>
                <a:gd name="T39" fmla="*/ 158807 h 1059"/>
                <a:gd name="T40" fmla="*/ 905840 w 1115"/>
                <a:gd name="T41" fmla="*/ 207421 h 1059"/>
                <a:gd name="T42" fmla="*/ 828598 w 1115"/>
                <a:gd name="T43" fmla="*/ 254415 h 1059"/>
                <a:gd name="T44" fmla="*/ 746089 w 1115"/>
                <a:gd name="T45" fmla="*/ 288445 h 1059"/>
                <a:gd name="T46" fmla="*/ 665336 w 1115"/>
                <a:gd name="T47" fmla="*/ 319234 h 1059"/>
                <a:gd name="T48" fmla="*/ 579316 w 1115"/>
                <a:gd name="T49" fmla="*/ 341921 h 1059"/>
                <a:gd name="T50" fmla="*/ 489786 w 1115"/>
                <a:gd name="T51" fmla="*/ 356505 h 1059"/>
                <a:gd name="T52" fmla="*/ 489786 w 1115"/>
                <a:gd name="T53" fmla="*/ 0 h 1059"/>
                <a:gd name="T54" fmla="*/ 0 w 1115"/>
                <a:gd name="T55" fmla="*/ 857233 h 1059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115"/>
                <a:gd name="T85" fmla="*/ 0 h 1059"/>
                <a:gd name="T86" fmla="*/ 1115 w 1115"/>
                <a:gd name="T87" fmla="*/ 1059 h 1059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115" h="1059">
                  <a:moveTo>
                    <a:pt x="0" y="529"/>
                  </a:moveTo>
                  <a:lnTo>
                    <a:pt x="279" y="1058"/>
                  </a:lnTo>
                  <a:lnTo>
                    <a:pt x="279" y="815"/>
                  </a:lnTo>
                  <a:lnTo>
                    <a:pt x="353" y="808"/>
                  </a:lnTo>
                  <a:lnTo>
                    <a:pt x="429" y="795"/>
                  </a:lnTo>
                  <a:lnTo>
                    <a:pt x="502" y="777"/>
                  </a:lnTo>
                  <a:lnTo>
                    <a:pt x="573" y="754"/>
                  </a:lnTo>
                  <a:lnTo>
                    <a:pt x="643" y="726"/>
                  </a:lnTo>
                  <a:lnTo>
                    <a:pt x="712" y="693"/>
                  </a:lnTo>
                  <a:lnTo>
                    <a:pt x="778" y="655"/>
                  </a:lnTo>
                  <a:lnTo>
                    <a:pt x="843" y="613"/>
                  </a:lnTo>
                  <a:lnTo>
                    <a:pt x="901" y="564"/>
                  </a:lnTo>
                  <a:lnTo>
                    <a:pt x="961" y="513"/>
                  </a:lnTo>
                  <a:lnTo>
                    <a:pt x="1015" y="456"/>
                  </a:lnTo>
                  <a:lnTo>
                    <a:pt x="1068" y="395"/>
                  </a:lnTo>
                  <a:lnTo>
                    <a:pt x="1114" y="333"/>
                  </a:lnTo>
                  <a:lnTo>
                    <a:pt x="776" y="352"/>
                  </a:lnTo>
                  <a:lnTo>
                    <a:pt x="623" y="36"/>
                  </a:lnTo>
                  <a:lnTo>
                    <a:pt x="591" y="69"/>
                  </a:lnTo>
                  <a:lnTo>
                    <a:pt x="557" y="98"/>
                  </a:lnTo>
                  <a:lnTo>
                    <a:pt x="516" y="128"/>
                  </a:lnTo>
                  <a:lnTo>
                    <a:pt x="472" y="157"/>
                  </a:lnTo>
                  <a:lnTo>
                    <a:pt x="425" y="178"/>
                  </a:lnTo>
                  <a:lnTo>
                    <a:pt x="379" y="197"/>
                  </a:lnTo>
                  <a:lnTo>
                    <a:pt x="330" y="211"/>
                  </a:lnTo>
                  <a:lnTo>
                    <a:pt x="279" y="220"/>
                  </a:lnTo>
                  <a:lnTo>
                    <a:pt x="279" y="0"/>
                  </a:lnTo>
                  <a:lnTo>
                    <a:pt x="0" y="529"/>
                  </a:ln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rgbClr val="FFFFFF"/>
                </a:solidFill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blackWhite">
            <a:xfrm>
              <a:off x="3294063" y="4378325"/>
              <a:ext cx="1719262" cy="1531938"/>
            </a:xfrm>
            <a:custGeom>
              <a:avLst/>
              <a:gdLst>
                <a:gd name="T0" fmla="*/ 2147483647 w 1061"/>
                <a:gd name="T1" fmla="*/ 0 h 946"/>
                <a:gd name="T2" fmla="*/ 0 w 1061"/>
                <a:gd name="T3" fmla="*/ 2147483647 h 946"/>
                <a:gd name="T4" fmla="*/ 2147483647 w 1061"/>
                <a:gd name="T5" fmla="*/ 2147483647 h 946"/>
                <a:gd name="T6" fmla="*/ 2147483647 w 1061"/>
                <a:gd name="T7" fmla="*/ 2147483647 h 946"/>
                <a:gd name="T8" fmla="*/ 2147483647 w 1061"/>
                <a:gd name="T9" fmla="*/ 2147483647 h 946"/>
                <a:gd name="T10" fmla="*/ 2147483647 w 1061"/>
                <a:gd name="T11" fmla="*/ 2147483647 h 946"/>
                <a:gd name="T12" fmla="*/ 2147483647 w 1061"/>
                <a:gd name="T13" fmla="*/ 2147483647 h 946"/>
                <a:gd name="T14" fmla="*/ 2147483647 w 1061"/>
                <a:gd name="T15" fmla="*/ 2147483647 h 946"/>
                <a:gd name="T16" fmla="*/ 2147483647 w 1061"/>
                <a:gd name="T17" fmla="*/ 2147483647 h 946"/>
                <a:gd name="T18" fmla="*/ 2147483647 w 1061"/>
                <a:gd name="T19" fmla="*/ 2147483647 h 946"/>
                <a:gd name="T20" fmla="*/ 2147483647 w 1061"/>
                <a:gd name="T21" fmla="*/ 2147483647 h 946"/>
                <a:gd name="T22" fmla="*/ 2147483647 w 1061"/>
                <a:gd name="T23" fmla="*/ 2147483647 h 946"/>
                <a:gd name="T24" fmla="*/ 2147483647 w 1061"/>
                <a:gd name="T25" fmla="*/ 2147483647 h 946"/>
                <a:gd name="T26" fmla="*/ 2147483647 w 1061"/>
                <a:gd name="T27" fmla="*/ 2147483647 h 946"/>
                <a:gd name="T28" fmla="*/ 2147483647 w 1061"/>
                <a:gd name="T29" fmla="*/ 2147483647 h 946"/>
                <a:gd name="T30" fmla="*/ 2147483647 w 1061"/>
                <a:gd name="T31" fmla="*/ 2147483647 h 946"/>
                <a:gd name="T32" fmla="*/ 2147483647 w 1061"/>
                <a:gd name="T33" fmla="*/ 2147483647 h 946"/>
                <a:gd name="T34" fmla="*/ 2147483647 w 1061"/>
                <a:gd name="T35" fmla="*/ 2147483647 h 946"/>
                <a:gd name="T36" fmla="*/ 2147483647 w 1061"/>
                <a:gd name="T37" fmla="*/ 2147483647 h 946"/>
                <a:gd name="T38" fmla="*/ 2147483647 w 1061"/>
                <a:gd name="T39" fmla="*/ 2147483647 h 946"/>
                <a:gd name="T40" fmla="*/ 2147483647 w 1061"/>
                <a:gd name="T41" fmla="*/ 2147483647 h 946"/>
                <a:gd name="T42" fmla="*/ 2147483647 w 1061"/>
                <a:gd name="T43" fmla="*/ 2147483647 h 946"/>
                <a:gd name="T44" fmla="*/ 2147483647 w 1061"/>
                <a:gd name="T45" fmla="*/ 2147483647 h 946"/>
                <a:gd name="T46" fmla="*/ 2147483647 w 1061"/>
                <a:gd name="T47" fmla="*/ 2147483647 h 946"/>
                <a:gd name="T48" fmla="*/ 2147483647 w 1061"/>
                <a:gd name="T49" fmla="*/ 2147483647 h 946"/>
                <a:gd name="T50" fmla="*/ 2147483647 w 1061"/>
                <a:gd name="T51" fmla="*/ 0 h 94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061"/>
                <a:gd name="T79" fmla="*/ 0 h 946"/>
                <a:gd name="T80" fmla="*/ 1061 w 1061"/>
                <a:gd name="T81" fmla="*/ 946 h 94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061" h="946">
                  <a:moveTo>
                    <a:pt x="372" y="0"/>
                  </a:moveTo>
                  <a:lnTo>
                    <a:pt x="0" y="477"/>
                  </a:lnTo>
                  <a:lnTo>
                    <a:pt x="207" y="395"/>
                  </a:lnTo>
                  <a:lnTo>
                    <a:pt x="252" y="466"/>
                  </a:lnTo>
                  <a:lnTo>
                    <a:pt x="302" y="531"/>
                  </a:lnTo>
                  <a:lnTo>
                    <a:pt x="354" y="592"/>
                  </a:lnTo>
                  <a:lnTo>
                    <a:pt x="410" y="649"/>
                  </a:lnTo>
                  <a:lnTo>
                    <a:pt x="471" y="703"/>
                  </a:lnTo>
                  <a:lnTo>
                    <a:pt x="535" y="751"/>
                  </a:lnTo>
                  <a:lnTo>
                    <a:pt x="602" y="795"/>
                  </a:lnTo>
                  <a:lnTo>
                    <a:pt x="670" y="833"/>
                  </a:lnTo>
                  <a:lnTo>
                    <a:pt x="745" y="867"/>
                  </a:lnTo>
                  <a:lnTo>
                    <a:pt x="818" y="894"/>
                  </a:lnTo>
                  <a:lnTo>
                    <a:pt x="894" y="917"/>
                  </a:lnTo>
                  <a:lnTo>
                    <a:pt x="970" y="934"/>
                  </a:lnTo>
                  <a:lnTo>
                    <a:pt x="1048" y="945"/>
                  </a:lnTo>
                  <a:lnTo>
                    <a:pt x="896" y="669"/>
                  </a:lnTo>
                  <a:lnTo>
                    <a:pt x="1060" y="347"/>
                  </a:lnTo>
                  <a:lnTo>
                    <a:pt x="1004" y="334"/>
                  </a:lnTo>
                  <a:lnTo>
                    <a:pt x="951" y="315"/>
                  </a:lnTo>
                  <a:lnTo>
                    <a:pt x="898" y="290"/>
                  </a:lnTo>
                  <a:lnTo>
                    <a:pt x="850" y="260"/>
                  </a:lnTo>
                  <a:lnTo>
                    <a:pt x="802" y="223"/>
                  </a:lnTo>
                  <a:lnTo>
                    <a:pt x="761" y="184"/>
                  </a:lnTo>
                  <a:lnTo>
                    <a:pt x="938" y="113"/>
                  </a:lnTo>
                  <a:lnTo>
                    <a:pt x="372" y="0"/>
                  </a:lnTo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rgbClr val="FFFFFF"/>
                </a:solidFill>
              </a:endParaRPr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blackWhite">
            <a:xfrm>
              <a:off x="3134390" y="3065463"/>
              <a:ext cx="1531273" cy="1709737"/>
            </a:xfrm>
            <a:custGeom>
              <a:avLst/>
              <a:gdLst>
                <a:gd name="T0" fmla="*/ 2147483647 w 866"/>
                <a:gd name="T1" fmla="*/ 0 h 1055"/>
                <a:gd name="T2" fmla="*/ 0 w 866"/>
                <a:gd name="T3" fmla="*/ 2147483647 h 1055"/>
                <a:gd name="T4" fmla="*/ 2147483647 w 866"/>
                <a:gd name="T5" fmla="*/ 2147483647 h 1055"/>
                <a:gd name="T6" fmla="*/ 2147483647 w 866"/>
                <a:gd name="T7" fmla="*/ 2147483647 h 1055"/>
                <a:gd name="T8" fmla="*/ 2147483647 w 866"/>
                <a:gd name="T9" fmla="*/ 2147483647 h 1055"/>
                <a:gd name="T10" fmla="*/ 2147483647 w 866"/>
                <a:gd name="T11" fmla="*/ 2147483647 h 1055"/>
                <a:gd name="T12" fmla="*/ 2147483647 w 866"/>
                <a:gd name="T13" fmla="*/ 2147483647 h 1055"/>
                <a:gd name="T14" fmla="*/ 2147483647 w 866"/>
                <a:gd name="T15" fmla="*/ 2147483647 h 1055"/>
                <a:gd name="T16" fmla="*/ 2147483647 w 866"/>
                <a:gd name="T17" fmla="*/ 2147483647 h 1055"/>
                <a:gd name="T18" fmla="*/ 2147483647 w 866"/>
                <a:gd name="T19" fmla="*/ 2147483647 h 1055"/>
                <a:gd name="T20" fmla="*/ 2147483647 w 866"/>
                <a:gd name="T21" fmla="*/ 2147483647 h 1055"/>
                <a:gd name="T22" fmla="*/ 2147483647 w 866"/>
                <a:gd name="T23" fmla="*/ 2147483647 h 1055"/>
                <a:gd name="T24" fmla="*/ 2147483647 w 866"/>
                <a:gd name="T25" fmla="*/ 2147483647 h 1055"/>
                <a:gd name="T26" fmla="*/ 2147483647 w 866"/>
                <a:gd name="T27" fmla="*/ 2147483647 h 1055"/>
                <a:gd name="T28" fmla="*/ 2147483647 w 866"/>
                <a:gd name="T29" fmla="*/ 2147483647 h 1055"/>
                <a:gd name="T30" fmla="*/ 2147483647 w 866"/>
                <a:gd name="T31" fmla="*/ 2147483647 h 1055"/>
                <a:gd name="T32" fmla="*/ 2147483647 w 866"/>
                <a:gd name="T33" fmla="*/ 2147483647 h 1055"/>
                <a:gd name="T34" fmla="*/ 2147483647 w 866"/>
                <a:gd name="T35" fmla="*/ 2147483647 h 1055"/>
                <a:gd name="T36" fmla="*/ 2147483647 w 866"/>
                <a:gd name="T37" fmla="*/ 2147483647 h 1055"/>
                <a:gd name="T38" fmla="*/ 2147483647 w 866"/>
                <a:gd name="T39" fmla="*/ 2147483647 h 1055"/>
                <a:gd name="T40" fmla="*/ 2147483647 w 866"/>
                <a:gd name="T41" fmla="*/ 2147483647 h 1055"/>
                <a:gd name="T42" fmla="*/ 2147483647 w 866"/>
                <a:gd name="T43" fmla="*/ 2147483647 h 1055"/>
                <a:gd name="T44" fmla="*/ 2147483647 w 866"/>
                <a:gd name="T45" fmla="*/ 2147483647 h 1055"/>
                <a:gd name="T46" fmla="*/ 2147483647 w 866"/>
                <a:gd name="T47" fmla="*/ 2147483647 h 1055"/>
                <a:gd name="T48" fmla="*/ 2147483647 w 866"/>
                <a:gd name="T49" fmla="*/ 2147483647 h 1055"/>
                <a:gd name="T50" fmla="*/ 2147483647 w 866"/>
                <a:gd name="T51" fmla="*/ 0 h 105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866"/>
                <a:gd name="T79" fmla="*/ 0 h 1055"/>
                <a:gd name="T80" fmla="*/ 866 w 866"/>
                <a:gd name="T81" fmla="*/ 1055 h 1055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866" h="1055">
                  <a:moveTo>
                    <a:pt x="571" y="0"/>
                  </a:moveTo>
                  <a:lnTo>
                    <a:pt x="0" y="1"/>
                  </a:lnTo>
                  <a:lnTo>
                    <a:pt x="178" y="111"/>
                  </a:lnTo>
                  <a:lnTo>
                    <a:pt x="153" y="187"/>
                  </a:lnTo>
                  <a:lnTo>
                    <a:pt x="130" y="264"/>
                  </a:lnTo>
                  <a:lnTo>
                    <a:pt x="113" y="343"/>
                  </a:lnTo>
                  <a:lnTo>
                    <a:pt x="100" y="423"/>
                  </a:lnTo>
                  <a:lnTo>
                    <a:pt x="94" y="504"/>
                  </a:lnTo>
                  <a:lnTo>
                    <a:pt x="93" y="583"/>
                  </a:lnTo>
                  <a:lnTo>
                    <a:pt x="95" y="664"/>
                  </a:lnTo>
                  <a:lnTo>
                    <a:pt x="104" y="744"/>
                  </a:lnTo>
                  <a:lnTo>
                    <a:pt x="118" y="824"/>
                  </a:lnTo>
                  <a:lnTo>
                    <a:pt x="136" y="903"/>
                  </a:lnTo>
                  <a:lnTo>
                    <a:pt x="159" y="979"/>
                  </a:lnTo>
                  <a:lnTo>
                    <a:pt x="189" y="1054"/>
                  </a:lnTo>
                  <a:lnTo>
                    <a:pt x="412" y="766"/>
                  </a:lnTo>
                  <a:lnTo>
                    <a:pt x="702" y="816"/>
                  </a:lnTo>
                  <a:lnTo>
                    <a:pt x="681" y="760"/>
                  </a:lnTo>
                  <a:lnTo>
                    <a:pt x="666" y="705"/>
                  </a:lnTo>
                  <a:lnTo>
                    <a:pt x="658" y="647"/>
                  </a:lnTo>
                  <a:lnTo>
                    <a:pt x="652" y="588"/>
                  </a:lnTo>
                  <a:lnTo>
                    <a:pt x="652" y="529"/>
                  </a:lnTo>
                  <a:lnTo>
                    <a:pt x="660" y="470"/>
                  </a:lnTo>
                  <a:lnTo>
                    <a:pt x="672" y="413"/>
                  </a:lnTo>
                  <a:lnTo>
                    <a:pt x="865" y="531"/>
                  </a:lnTo>
                  <a:lnTo>
                    <a:pt x="571" y="0"/>
                  </a:lnTo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rgbClr val="FFFFFF"/>
                </a:solidFill>
              </a:endParaRPr>
            </a:p>
          </p:txBody>
        </p:sp>
        <p:sp>
          <p:nvSpPr>
            <p:cNvPr id="41" name="Rectangle 40"/>
            <p:cNvSpPr>
              <a:spLocks noChangeArrowheads="1"/>
            </p:cNvSpPr>
            <p:nvPr/>
          </p:nvSpPr>
          <p:spPr bwMode="blackWhite">
            <a:xfrm>
              <a:off x="2898547" y="2538471"/>
              <a:ext cx="1413336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rgbClr val="3E3838"/>
                </a:buClr>
                <a:buFont typeface="Wingdings 2" pitchFamily="18" charset="2"/>
                <a:buNone/>
                <a:defRPr/>
              </a:pPr>
              <a:r>
                <a:rPr lang="en-US" sz="1400">
                  <a:solidFill>
                    <a:srgbClr val="FFFFFF"/>
                  </a:solidFill>
                </a:rPr>
                <a:t>Text. White. 14PT</a:t>
              </a:r>
            </a:p>
          </p:txBody>
        </p:sp>
        <p:sp>
          <p:nvSpPr>
            <p:cNvPr id="42" name="Rectangle 41"/>
            <p:cNvSpPr>
              <a:spLocks noChangeArrowheads="1"/>
            </p:cNvSpPr>
            <p:nvPr/>
          </p:nvSpPr>
          <p:spPr bwMode="blackWhite">
            <a:xfrm>
              <a:off x="5890738" y="2805171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rgbClr val="3E3838"/>
                </a:buClr>
                <a:buFont typeface="Wingdings 2" pitchFamily="18" charset="2"/>
                <a:buNone/>
                <a:defRPr/>
              </a:pPr>
              <a:r>
                <a:rPr lang="en-US" sz="1400">
                  <a:solidFill>
                    <a:srgbClr val="FFFFFF"/>
                  </a:solidFill>
                </a:rPr>
                <a:t>Text</a:t>
              </a:r>
            </a:p>
          </p:txBody>
        </p:sp>
        <p:sp>
          <p:nvSpPr>
            <p:cNvPr id="43" name="Rectangle 42"/>
            <p:cNvSpPr>
              <a:spLocks noChangeArrowheads="1"/>
            </p:cNvSpPr>
            <p:nvPr/>
          </p:nvSpPr>
          <p:spPr bwMode="blackWhite">
            <a:xfrm>
              <a:off x="6370162" y="4146609"/>
              <a:ext cx="327975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rgbClr val="3E3838"/>
                </a:buClr>
                <a:buFont typeface="Wingdings 2" pitchFamily="18" charset="2"/>
                <a:buNone/>
                <a:defRPr/>
              </a:pPr>
              <a:r>
                <a:rPr lang="en-US" sz="1400">
                  <a:solidFill>
                    <a:srgbClr val="FFFFFF"/>
                  </a:solidFill>
                </a:rPr>
                <a:t>Text</a:t>
              </a:r>
            </a:p>
          </p:txBody>
        </p:sp>
        <p:sp>
          <p:nvSpPr>
            <p:cNvPr id="44" name="Rectangle 43"/>
            <p:cNvSpPr>
              <a:spLocks noChangeArrowheads="1"/>
            </p:cNvSpPr>
            <p:nvPr/>
          </p:nvSpPr>
          <p:spPr bwMode="blackWhite">
            <a:xfrm>
              <a:off x="5501800" y="5259446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rgbClr val="3E3838"/>
                </a:buClr>
                <a:buFont typeface="Wingdings 2" pitchFamily="18" charset="2"/>
                <a:buNone/>
                <a:defRPr/>
              </a:pPr>
              <a:r>
                <a:rPr lang="en-US" sz="1400">
                  <a:solidFill>
                    <a:srgbClr val="FFFFFF"/>
                  </a:solidFill>
                </a:rPr>
                <a:t>Text</a:t>
              </a:r>
            </a:p>
          </p:txBody>
        </p:sp>
        <p:sp>
          <p:nvSpPr>
            <p:cNvPr id="45" name="Rectangle 44"/>
            <p:cNvSpPr>
              <a:spLocks noChangeArrowheads="1"/>
            </p:cNvSpPr>
            <p:nvPr/>
          </p:nvSpPr>
          <p:spPr bwMode="blackWhite">
            <a:xfrm>
              <a:off x="4166713" y="4962584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rgbClr val="3E3838"/>
                </a:buClr>
                <a:buFont typeface="Wingdings 2" pitchFamily="18" charset="2"/>
                <a:buNone/>
                <a:defRPr/>
              </a:pPr>
              <a:r>
                <a:rPr lang="en-US" sz="1400">
                  <a:solidFill>
                    <a:srgbClr val="FFFFFF"/>
                  </a:solidFill>
                </a:rPr>
                <a:t>Text</a:t>
              </a:r>
            </a:p>
          </p:txBody>
        </p:sp>
        <p:sp>
          <p:nvSpPr>
            <p:cNvPr id="46" name="Rectangle 45"/>
            <p:cNvSpPr>
              <a:spLocks noChangeArrowheads="1"/>
            </p:cNvSpPr>
            <p:nvPr/>
          </p:nvSpPr>
          <p:spPr bwMode="blackWhite">
            <a:xfrm>
              <a:off x="3627624" y="3692584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rgbClr val="3E3838"/>
                </a:buClr>
                <a:buFont typeface="Wingdings 2" pitchFamily="18" charset="2"/>
                <a:buNone/>
                <a:defRPr/>
              </a:pPr>
              <a:r>
                <a:rPr lang="en-US" sz="1400">
                  <a:solidFill>
                    <a:srgbClr val="FFFFFF"/>
                  </a:solidFill>
                </a:rPr>
                <a:t>Text</a:t>
              </a:r>
            </a:p>
          </p:txBody>
        </p:sp>
      </p:grpSp>
      <p:sp>
        <p:nvSpPr>
          <p:cNvPr id="47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48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5116786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Slide designed to be used when you only have a small intro paragraph and bullet points. 18PT</a:t>
            </a:r>
          </a:p>
        </p:txBody>
      </p:sp>
      <p:sp>
        <p:nvSpPr>
          <p:cNvPr id="55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5116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11679492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. Strategy Slide - Process Closed Loop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9161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7061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PROCESS CLOSED LOOP WITH LARGE TEXT</a:t>
            </a:r>
          </a:p>
        </p:txBody>
      </p:sp>
      <p:sp>
        <p:nvSpPr>
          <p:cNvPr id="47" name="Arc 3"/>
          <p:cNvSpPr>
            <a:spLocks/>
          </p:cNvSpPr>
          <p:nvPr userDrawn="1"/>
        </p:nvSpPr>
        <p:spPr bwMode="auto">
          <a:xfrm>
            <a:off x="8555775" y="1924512"/>
            <a:ext cx="2043112" cy="1801812"/>
          </a:xfrm>
          <a:custGeom>
            <a:avLst/>
            <a:gdLst>
              <a:gd name="T0" fmla="*/ 0 w 19173"/>
              <a:gd name="T1" fmla="*/ 0 h 21600"/>
              <a:gd name="T2" fmla="*/ 2147483647 w 19173"/>
              <a:gd name="T3" fmla="*/ 2147483647 h 21600"/>
              <a:gd name="T4" fmla="*/ 0 w 19173"/>
              <a:gd name="T5" fmla="*/ 2147483647 h 21600"/>
              <a:gd name="T6" fmla="*/ 0 60000 65536"/>
              <a:gd name="T7" fmla="*/ 0 60000 65536"/>
              <a:gd name="T8" fmla="*/ 0 60000 65536"/>
              <a:gd name="T9" fmla="*/ 0 w 19173"/>
              <a:gd name="T10" fmla="*/ 0 h 21600"/>
              <a:gd name="T11" fmla="*/ 19173 w 19173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173" h="21600" fill="none" extrusionOk="0">
                <a:moveTo>
                  <a:pt x="-1" y="0"/>
                </a:moveTo>
                <a:cubicBezTo>
                  <a:pt x="8064" y="0"/>
                  <a:pt x="15457" y="4492"/>
                  <a:pt x="19172" y="11651"/>
                </a:cubicBezTo>
              </a:path>
              <a:path w="19173" h="21600" stroke="0" extrusionOk="0">
                <a:moveTo>
                  <a:pt x="-1" y="0"/>
                </a:moveTo>
                <a:cubicBezTo>
                  <a:pt x="8064" y="0"/>
                  <a:pt x="15457" y="4492"/>
                  <a:pt x="19172" y="11651"/>
                </a:cubicBezTo>
                <a:lnTo>
                  <a:pt x="0" y="21600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48" name="Arc 4"/>
          <p:cNvSpPr>
            <a:spLocks/>
          </p:cNvSpPr>
          <p:nvPr userDrawn="1"/>
        </p:nvSpPr>
        <p:spPr bwMode="auto">
          <a:xfrm flipV="1">
            <a:off x="8555775" y="3803958"/>
            <a:ext cx="2301875" cy="969963"/>
          </a:xfrm>
          <a:custGeom>
            <a:avLst/>
            <a:gdLst>
              <a:gd name="T0" fmla="*/ 2147483647 w 21600"/>
              <a:gd name="T1" fmla="*/ 0 h 11619"/>
              <a:gd name="T2" fmla="*/ 2147483647 w 21600"/>
              <a:gd name="T3" fmla="*/ 2147483647 h 11619"/>
              <a:gd name="T4" fmla="*/ 0 w 21600"/>
              <a:gd name="T5" fmla="*/ 2147483647 h 11619"/>
              <a:gd name="T6" fmla="*/ 0 60000 65536"/>
              <a:gd name="T7" fmla="*/ 0 60000 65536"/>
              <a:gd name="T8" fmla="*/ 0 60000 65536"/>
              <a:gd name="T9" fmla="*/ 0 w 21600"/>
              <a:gd name="T10" fmla="*/ 0 h 11619"/>
              <a:gd name="T11" fmla="*/ 21600 w 21600"/>
              <a:gd name="T12" fmla="*/ 11619 h 1161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11619" fill="none" extrusionOk="0">
                <a:moveTo>
                  <a:pt x="18208" y="0"/>
                </a:moveTo>
                <a:cubicBezTo>
                  <a:pt x="20423" y="3470"/>
                  <a:pt x="21600" y="7501"/>
                  <a:pt x="21600" y="11619"/>
                </a:cubicBezTo>
              </a:path>
              <a:path w="21600" h="11619" stroke="0" extrusionOk="0">
                <a:moveTo>
                  <a:pt x="18208" y="0"/>
                </a:moveTo>
                <a:cubicBezTo>
                  <a:pt x="20423" y="3470"/>
                  <a:pt x="21600" y="7501"/>
                  <a:pt x="21600" y="11619"/>
                </a:cubicBezTo>
                <a:lnTo>
                  <a:pt x="0" y="11619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rot="10800000"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49" name="Arc 5"/>
          <p:cNvSpPr>
            <a:spLocks/>
          </p:cNvSpPr>
          <p:nvPr userDrawn="1"/>
        </p:nvSpPr>
        <p:spPr bwMode="auto">
          <a:xfrm rot="183362" flipV="1">
            <a:off x="8248650" y="3884613"/>
            <a:ext cx="1851025" cy="1801813"/>
          </a:xfrm>
          <a:custGeom>
            <a:avLst/>
            <a:gdLst>
              <a:gd name="T0" fmla="*/ 0 w 17368"/>
              <a:gd name="T1" fmla="*/ 2147483647 h 21600"/>
              <a:gd name="T2" fmla="*/ 2147483647 w 17368"/>
              <a:gd name="T3" fmla="*/ 2147483647 h 21600"/>
              <a:gd name="T4" fmla="*/ 2147483647 w 17368"/>
              <a:gd name="T5" fmla="*/ 2147483647 h 21600"/>
              <a:gd name="T6" fmla="*/ 0 60000 65536"/>
              <a:gd name="T7" fmla="*/ 0 60000 65536"/>
              <a:gd name="T8" fmla="*/ 0 60000 65536"/>
              <a:gd name="T9" fmla="*/ 0 w 17368"/>
              <a:gd name="T10" fmla="*/ 0 h 21600"/>
              <a:gd name="T11" fmla="*/ 17368 w 17368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7368" h="21600" fill="none" extrusionOk="0">
                <a:moveTo>
                  <a:pt x="0" y="189"/>
                </a:moveTo>
                <a:cubicBezTo>
                  <a:pt x="945" y="63"/>
                  <a:pt x="1898" y="-1"/>
                  <a:pt x="2852" y="0"/>
                </a:cubicBezTo>
                <a:cubicBezTo>
                  <a:pt x="8218" y="0"/>
                  <a:pt x="13393" y="1998"/>
                  <a:pt x="17368" y="5604"/>
                </a:cubicBezTo>
              </a:path>
              <a:path w="17368" h="21600" stroke="0" extrusionOk="0">
                <a:moveTo>
                  <a:pt x="0" y="189"/>
                </a:moveTo>
                <a:cubicBezTo>
                  <a:pt x="945" y="63"/>
                  <a:pt x="1898" y="-1"/>
                  <a:pt x="2852" y="0"/>
                </a:cubicBezTo>
                <a:cubicBezTo>
                  <a:pt x="8218" y="0"/>
                  <a:pt x="13393" y="1998"/>
                  <a:pt x="17368" y="5604"/>
                </a:cubicBezTo>
                <a:lnTo>
                  <a:pt x="2852" y="21600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rot="10800000"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54" name="Arc 6"/>
          <p:cNvSpPr>
            <a:spLocks/>
          </p:cNvSpPr>
          <p:nvPr userDrawn="1"/>
        </p:nvSpPr>
        <p:spPr bwMode="auto">
          <a:xfrm flipH="1" flipV="1">
            <a:off x="6312637" y="3726324"/>
            <a:ext cx="2244725" cy="1592263"/>
          </a:xfrm>
          <a:custGeom>
            <a:avLst/>
            <a:gdLst>
              <a:gd name="T0" fmla="*/ 2147483647 w 21027"/>
              <a:gd name="T1" fmla="*/ 0 h 19082"/>
              <a:gd name="T2" fmla="*/ 2147483647 w 21027"/>
              <a:gd name="T3" fmla="*/ 2147483647 h 19082"/>
              <a:gd name="T4" fmla="*/ 0 w 21027"/>
              <a:gd name="T5" fmla="*/ 2147483647 h 19082"/>
              <a:gd name="T6" fmla="*/ 0 60000 65536"/>
              <a:gd name="T7" fmla="*/ 0 60000 65536"/>
              <a:gd name="T8" fmla="*/ 0 60000 65536"/>
              <a:gd name="T9" fmla="*/ 0 w 21027"/>
              <a:gd name="T10" fmla="*/ 0 h 19082"/>
              <a:gd name="T11" fmla="*/ 21027 w 21027"/>
              <a:gd name="T12" fmla="*/ 19082 h 1908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027" h="19082" fill="none" extrusionOk="0">
                <a:moveTo>
                  <a:pt x="10121" y="0"/>
                </a:moveTo>
                <a:cubicBezTo>
                  <a:pt x="15625" y="2919"/>
                  <a:pt x="19601" y="8073"/>
                  <a:pt x="21026" y="14139"/>
                </a:cubicBezTo>
              </a:path>
              <a:path w="21027" h="19082" stroke="0" extrusionOk="0">
                <a:moveTo>
                  <a:pt x="10121" y="0"/>
                </a:moveTo>
                <a:cubicBezTo>
                  <a:pt x="15625" y="2919"/>
                  <a:pt x="19601" y="8073"/>
                  <a:pt x="21026" y="14139"/>
                </a:cubicBezTo>
                <a:lnTo>
                  <a:pt x="0" y="19082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 rot="10800000"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55" name="Arc 7"/>
          <p:cNvSpPr>
            <a:spLocks/>
          </p:cNvSpPr>
          <p:nvPr userDrawn="1"/>
        </p:nvSpPr>
        <p:spPr bwMode="auto">
          <a:xfrm flipH="1">
            <a:off x="6279300" y="2067387"/>
            <a:ext cx="2278062" cy="1658937"/>
          </a:xfrm>
          <a:custGeom>
            <a:avLst/>
            <a:gdLst>
              <a:gd name="T0" fmla="*/ 2147483647 w 21347"/>
              <a:gd name="T1" fmla="*/ 0 h 19905"/>
              <a:gd name="T2" fmla="*/ 2147483647 w 21347"/>
              <a:gd name="T3" fmla="*/ 2147483647 h 19905"/>
              <a:gd name="T4" fmla="*/ 0 w 21347"/>
              <a:gd name="T5" fmla="*/ 2147483647 h 19905"/>
              <a:gd name="T6" fmla="*/ 0 60000 65536"/>
              <a:gd name="T7" fmla="*/ 0 60000 65536"/>
              <a:gd name="T8" fmla="*/ 0 60000 65536"/>
              <a:gd name="T9" fmla="*/ 0 w 21347"/>
              <a:gd name="T10" fmla="*/ 0 h 19905"/>
              <a:gd name="T11" fmla="*/ 21347 w 21347"/>
              <a:gd name="T12" fmla="*/ 19905 h 1990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347" h="19905" fill="none" extrusionOk="0">
                <a:moveTo>
                  <a:pt x="8386" y="-1"/>
                </a:moveTo>
                <a:cubicBezTo>
                  <a:pt x="15295" y="2910"/>
                  <a:pt x="20201" y="9196"/>
                  <a:pt x="21346" y="16606"/>
                </a:cubicBezTo>
              </a:path>
              <a:path w="21347" h="19905" stroke="0" extrusionOk="0">
                <a:moveTo>
                  <a:pt x="8386" y="-1"/>
                </a:moveTo>
                <a:cubicBezTo>
                  <a:pt x="15295" y="2910"/>
                  <a:pt x="20201" y="9196"/>
                  <a:pt x="21346" y="16606"/>
                </a:cubicBezTo>
                <a:lnTo>
                  <a:pt x="0" y="19905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75" name="Oval 8"/>
          <p:cNvSpPr>
            <a:spLocks noChangeArrowheads="1"/>
          </p:cNvSpPr>
          <p:nvPr userDrawn="1"/>
        </p:nvSpPr>
        <p:spPr bwMode="auto">
          <a:xfrm>
            <a:off x="9048888" y="4635962"/>
            <a:ext cx="1743075" cy="1238250"/>
          </a:xfrm>
          <a:prstGeom prst="ellipse">
            <a:avLst/>
          </a:prstGeom>
          <a:solidFill>
            <a:schemeClr val="accent3"/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>
                <a:solidFill>
                  <a:srgbClr val="FFFFFF"/>
                </a:solidFill>
                <a:ea typeface="ＭＳ Ｐゴシック" pitchFamily="50" charset="-128"/>
              </a:rPr>
              <a:t>Text. White. 12PT</a:t>
            </a:r>
          </a:p>
        </p:txBody>
      </p:sp>
      <p:sp>
        <p:nvSpPr>
          <p:cNvPr id="76" name="Oval 9"/>
          <p:cNvSpPr>
            <a:spLocks noChangeArrowheads="1"/>
          </p:cNvSpPr>
          <p:nvPr userDrawn="1"/>
        </p:nvSpPr>
        <p:spPr bwMode="auto">
          <a:xfrm>
            <a:off x="5612550" y="2894474"/>
            <a:ext cx="1738312" cy="1235075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>
                <a:solidFill>
                  <a:srgbClr val="FFFFFF"/>
                </a:solidFill>
                <a:ea typeface="ＭＳ Ｐゴシック" pitchFamily="50" charset="-128"/>
              </a:rPr>
              <a:t>Text. White. 12PT</a:t>
            </a:r>
          </a:p>
        </p:txBody>
      </p:sp>
      <p:sp>
        <p:nvSpPr>
          <p:cNvPr id="77" name="Oval 10"/>
          <p:cNvSpPr>
            <a:spLocks noChangeArrowheads="1"/>
          </p:cNvSpPr>
          <p:nvPr userDrawn="1"/>
        </p:nvSpPr>
        <p:spPr bwMode="auto">
          <a:xfrm>
            <a:off x="6571400" y="4635962"/>
            <a:ext cx="1738312" cy="123825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>
                <a:solidFill>
                  <a:srgbClr val="FFFFFF"/>
                </a:solidFill>
                <a:ea typeface="ＭＳ Ｐゴシック" pitchFamily="50" charset="-128"/>
              </a:rPr>
              <a:t>Text. White. 12PT</a:t>
            </a:r>
          </a:p>
        </p:txBody>
      </p:sp>
      <p:sp>
        <p:nvSpPr>
          <p:cNvPr id="78" name="Oval 11"/>
          <p:cNvSpPr>
            <a:spLocks noChangeArrowheads="1"/>
          </p:cNvSpPr>
          <p:nvPr userDrawn="1"/>
        </p:nvSpPr>
        <p:spPr bwMode="auto">
          <a:xfrm>
            <a:off x="9835300" y="2894474"/>
            <a:ext cx="1744662" cy="1235075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>
                <a:solidFill>
                  <a:srgbClr val="FFFFFF"/>
                </a:solidFill>
                <a:ea typeface="ＭＳ Ｐゴシック" pitchFamily="50" charset="-128"/>
              </a:rPr>
              <a:t>Text. White. 12PT</a:t>
            </a:r>
          </a:p>
        </p:txBody>
      </p:sp>
      <p:sp>
        <p:nvSpPr>
          <p:cNvPr id="79" name="Oval 12"/>
          <p:cNvSpPr>
            <a:spLocks noChangeArrowheads="1"/>
          </p:cNvSpPr>
          <p:nvPr userDrawn="1"/>
        </p:nvSpPr>
        <p:spPr bwMode="auto">
          <a:xfrm>
            <a:off x="7684237" y="1438737"/>
            <a:ext cx="1739900" cy="11890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>
                <a:solidFill>
                  <a:srgbClr val="FFFFFF"/>
                </a:solidFill>
                <a:ea typeface="ＭＳ Ｐゴシック" pitchFamily="50" charset="-128"/>
              </a:rPr>
              <a:t>Text. White. 12PT</a:t>
            </a:r>
          </a:p>
        </p:txBody>
      </p:sp>
      <p:sp>
        <p:nvSpPr>
          <p:cNvPr id="80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81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82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5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4727325" cy="39059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s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85515627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. Strategy Slide - Direct Reports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5321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0248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DIRECT REPORTS ORG CHART.</a:t>
            </a:r>
          </a:p>
        </p:txBody>
      </p:sp>
      <p:sp>
        <p:nvSpPr>
          <p:cNvPr id="125" name="Rectangle 124"/>
          <p:cNvSpPr/>
          <p:nvPr/>
        </p:nvSpPr>
        <p:spPr>
          <a:xfrm>
            <a:off x="5428481" y="1565718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600">
              <a:solidFill>
                <a:srgbClr val="FFFFFF"/>
              </a:solidFill>
            </a:endParaRPr>
          </a:p>
        </p:txBody>
      </p:sp>
      <p:cxnSp>
        <p:nvCxnSpPr>
          <p:cNvPr id="81" name="Straight Connector 80"/>
          <p:cNvCxnSpPr/>
          <p:nvPr/>
        </p:nvCxnSpPr>
        <p:spPr>
          <a:xfrm>
            <a:off x="1088796" y="3433191"/>
            <a:ext cx="8490978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/>
        </p:nvCxnSpPr>
        <p:spPr>
          <a:xfrm>
            <a:off x="9579775" y="3433191"/>
            <a:ext cx="1481343" cy="0"/>
          </a:xfrm>
          <a:prstGeom prst="line">
            <a:avLst/>
          </a:prstGeom>
          <a:ln w="6350">
            <a:solidFill>
              <a:schemeClr val="tx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/>
          <p:cNvCxnSpPr/>
          <p:nvPr/>
        </p:nvCxnSpPr>
        <p:spPr>
          <a:xfrm>
            <a:off x="9582047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/>
          <p:cNvCxnSpPr/>
          <p:nvPr/>
        </p:nvCxnSpPr>
        <p:spPr>
          <a:xfrm>
            <a:off x="11061118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/>
          <p:cNvCxnSpPr/>
          <p:nvPr/>
        </p:nvCxnSpPr>
        <p:spPr>
          <a:xfrm>
            <a:off x="5302440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/>
        </p:nvCxnSpPr>
        <p:spPr>
          <a:xfrm>
            <a:off x="3925703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/>
        </p:nvCxnSpPr>
        <p:spPr>
          <a:xfrm>
            <a:off x="2513310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/>
        </p:nvCxnSpPr>
        <p:spPr>
          <a:xfrm>
            <a:off x="1088796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142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43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5519781" y="1674479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519781" y="2691366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44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19781" y="2856097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cxnSp>
        <p:nvCxnSpPr>
          <p:cNvPr id="145" name="Straight Connector 144"/>
          <p:cNvCxnSpPr/>
          <p:nvPr/>
        </p:nvCxnSpPr>
        <p:spPr>
          <a:xfrm>
            <a:off x="6057406" y="3086187"/>
            <a:ext cx="0" cy="343134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/>
          <p:cNvCxnSpPr/>
          <p:nvPr/>
        </p:nvCxnSpPr>
        <p:spPr>
          <a:xfrm>
            <a:off x="6760791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/>
          <p:cNvCxnSpPr/>
          <p:nvPr/>
        </p:nvCxnSpPr>
        <p:spPr>
          <a:xfrm>
            <a:off x="8153492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tangle 150"/>
          <p:cNvSpPr/>
          <p:nvPr userDrawn="1"/>
        </p:nvSpPr>
        <p:spPr>
          <a:xfrm>
            <a:off x="432838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600">
              <a:solidFill>
                <a:srgbClr val="FFFFFF"/>
              </a:solidFill>
            </a:endParaRPr>
          </a:p>
        </p:txBody>
      </p:sp>
      <p:sp>
        <p:nvSpPr>
          <p:cNvPr id="152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524138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53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24138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54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24138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55" name="Rectangle 154"/>
          <p:cNvSpPr/>
          <p:nvPr userDrawn="1"/>
        </p:nvSpPr>
        <p:spPr>
          <a:xfrm>
            <a:off x="1859057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600">
              <a:solidFill>
                <a:srgbClr val="FFFFFF"/>
              </a:solidFill>
            </a:endParaRPr>
          </a:p>
        </p:txBody>
      </p:sp>
      <p:sp>
        <p:nvSpPr>
          <p:cNvPr id="156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1950357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57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1950357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5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1950357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59" name="Rectangle 158"/>
          <p:cNvSpPr/>
          <p:nvPr userDrawn="1"/>
        </p:nvSpPr>
        <p:spPr>
          <a:xfrm>
            <a:off x="3272950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600">
              <a:solidFill>
                <a:srgbClr val="FFFFFF"/>
              </a:solidFill>
            </a:endParaRPr>
          </a:p>
        </p:txBody>
      </p:sp>
      <p:sp>
        <p:nvSpPr>
          <p:cNvPr id="160" name="Picture Placeholder 4"/>
          <p:cNvSpPr>
            <a:spLocks noGrp="1"/>
          </p:cNvSpPr>
          <p:nvPr>
            <p:ph type="pic" sz="quarter" idx="19" hasCustomPrompt="1"/>
          </p:nvPr>
        </p:nvSpPr>
        <p:spPr>
          <a:xfrm>
            <a:off x="3364250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1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3364250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364250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63" name="Rectangle 162"/>
          <p:cNvSpPr/>
          <p:nvPr userDrawn="1"/>
        </p:nvSpPr>
        <p:spPr>
          <a:xfrm>
            <a:off x="4646564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600">
              <a:solidFill>
                <a:srgbClr val="FFFFFF"/>
              </a:solidFill>
            </a:endParaRPr>
          </a:p>
        </p:txBody>
      </p:sp>
      <p:sp>
        <p:nvSpPr>
          <p:cNvPr id="164" name="Picture Placeholder 4"/>
          <p:cNvSpPr>
            <a:spLocks noGrp="1"/>
          </p:cNvSpPr>
          <p:nvPr>
            <p:ph type="pic" sz="quarter" idx="22" hasCustomPrompt="1"/>
          </p:nvPr>
        </p:nvSpPr>
        <p:spPr>
          <a:xfrm>
            <a:off x="4737864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737864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4737864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67" name="Rectangle 166"/>
          <p:cNvSpPr/>
          <p:nvPr userDrawn="1"/>
        </p:nvSpPr>
        <p:spPr>
          <a:xfrm>
            <a:off x="6100746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600">
              <a:solidFill>
                <a:srgbClr val="FFFFFF"/>
              </a:solidFill>
            </a:endParaRPr>
          </a:p>
        </p:txBody>
      </p:sp>
      <p:sp>
        <p:nvSpPr>
          <p:cNvPr id="168" name="Picture Placeholder 4"/>
          <p:cNvSpPr>
            <a:spLocks noGrp="1"/>
          </p:cNvSpPr>
          <p:nvPr>
            <p:ph type="pic" sz="quarter" idx="25" hasCustomPrompt="1"/>
          </p:nvPr>
        </p:nvSpPr>
        <p:spPr>
          <a:xfrm>
            <a:off x="6192046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9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6192046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0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6192046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1" name="Rectangle 170"/>
          <p:cNvSpPr/>
          <p:nvPr userDrawn="1"/>
        </p:nvSpPr>
        <p:spPr>
          <a:xfrm>
            <a:off x="7498529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600">
              <a:solidFill>
                <a:srgbClr val="FFFFFF"/>
              </a:solidFill>
            </a:endParaRPr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28" hasCustomPrompt="1"/>
          </p:nvPr>
        </p:nvSpPr>
        <p:spPr>
          <a:xfrm>
            <a:off x="7589829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73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7589829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4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7589829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5" name="Rectangle 174"/>
          <p:cNvSpPr/>
          <p:nvPr userDrawn="1"/>
        </p:nvSpPr>
        <p:spPr>
          <a:xfrm>
            <a:off x="8927502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600">
              <a:solidFill>
                <a:srgbClr val="FFFFFF"/>
              </a:solidFill>
            </a:endParaRPr>
          </a:p>
        </p:txBody>
      </p:sp>
      <p:sp>
        <p:nvSpPr>
          <p:cNvPr id="176" name="Picture Placeholder 4"/>
          <p:cNvSpPr>
            <a:spLocks noGrp="1"/>
          </p:cNvSpPr>
          <p:nvPr>
            <p:ph type="pic" sz="quarter" idx="31" hasCustomPrompt="1"/>
          </p:nvPr>
        </p:nvSpPr>
        <p:spPr>
          <a:xfrm>
            <a:off x="9018802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77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9018802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8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9018802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9" name="Rectangle 178"/>
          <p:cNvSpPr/>
          <p:nvPr userDrawn="1"/>
        </p:nvSpPr>
        <p:spPr>
          <a:xfrm>
            <a:off x="10405847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600">
              <a:solidFill>
                <a:srgbClr val="FFFFFF"/>
              </a:solidFill>
            </a:endParaRPr>
          </a:p>
        </p:txBody>
      </p:sp>
      <p:sp>
        <p:nvSpPr>
          <p:cNvPr id="180" name="Picture Placeholder 4"/>
          <p:cNvSpPr>
            <a:spLocks noGrp="1"/>
          </p:cNvSpPr>
          <p:nvPr>
            <p:ph type="pic" sz="quarter" idx="34" hasCustomPrompt="1"/>
          </p:nvPr>
        </p:nvSpPr>
        <p:spPr>
          <a:xfrm>
            <a:off x="10497147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81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10497147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82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10497147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5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20056740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. Strategy Slide - Company/Function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78837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6047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MPANY / FUNCTION ORG CHART.</a:t>
            </a:r>
          </a:p>
        </p:txBody>
      </p:sp>
      <p:cxnSp>
        <p:nvCxnSpPr>
          <p:cNvPr id="143" name="Straight Connector 142"/>
          <p:cNvCxnSpPr>
            <a:stCxn id="210" idx="2"/>
          </p:cNvCxnSpPr>
          <p:nvPr userDrawn="1"/>
        </p:nvCxnSpPr>
        <p:spPr>
          <a:xfrm>
            <a:off x="5367448" y="2111551"/>
            <a:ext cx="0" cy="568149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/>
          <p:cNvCxnSpPr/>
          <p:nvPr userDrawn="1"/>
        </p:nvCxnSpPr>
        <p:spPr>
          <a:xfrm flipH="1">
            <a:off x="2979125" y="2530165"/>
            <a:ext cx="485527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ounded Rectangle 144"/>
          <p:cNvSpPr/>
          <p:nvPr userDrawn="1"/>
        </p:nvSpPr>
        <p:spPr>
          <a:xfrm>
            <a:off x="2112960" y="27076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900">
              <a:solidFill>
                <a:srgbClr val="FFFFFF"/>
              </a:solidFill>
            </a:endParaRPr>
          </a:p>
        </p:txBody>
      </p:sp>
      <p:cxnSp>
        <p:nvCxnSpPr>
          <p:cNvPr id="146" name="Straight Connector 145"/>
          <p:cNvCxnSpPr/>
          <p:nvPr userDrawn="1"/>
        </p:nvCxnSpPr>
        <p:spPr>
          <a:xfrm>
            <a:off x="2977056" y="2530165"/>
            <a:ext cx="0" cy="149535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ounded Rectangle 146"/>
          <p:cNvSpPr/>
          <p:nvPr userDrawn="1"/>
        </p:nvSpPr>
        <p:spPr>
          <a:xfrm>
            <a:off x="1534225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148" name="Rounded Rectangle 147"/>
          <p:cNvSpPr/>
          <p:nvPr userDrawn="1"/>
        </p:nvSpPr>
        <p:spPr>
          <a:xfrm>
            <a:off x="1534225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149" name="Rounded Rectangle 148"/>
          <p:cNvSpPr/>
          <p:nvPr userDrawn="1"/>
        </p:nvSpPr>
        <p:spPr>
          <a:xfrm>
            <a:off x="1534225" y="47400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150" name="Rounded Rectangle 149"/>
          <p:cNvSpPr/>
          <p:nvPr userDrawn="1"/>
        </p:nvSpPr>
        <p:spPr>
          <a:xfrm>
            <a:off x="1534225" y="5376518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900">
              <a:solidFill>
                <a:srgbClr val="FFFFFF"/>
              </a:solidFill>
            </a:endParaRPr>
          </a:p>
        </p:txBody>
      </p:sp>
      <p:cxnSp>
        <p:nvCxnSpPr>
          <p:cNvPr id="151" name="Straight Connector 150"/>
          <p:cNvCxnSpPr/>
          <p:nvPr userDrawn="1"/>
        </p:nvCxnSpPr>
        <p:spPr>
          <a:xfrm>
            <a:off x="3518616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/>
          <p:cNvCxnSpPr/>
          <p:nvPr userDrawn="1"/>
        </p:nvCxnSpPr>
        <p:spPr>
          <a:xfrm flipH="1">
            <a:off x="3331590" y="435037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/>
          <p:nvPr userDrawn="1"/>
        </p:nvCxnSpPr>
        <p:spPr>
          <a:xfrm>
            <a:off x="3697136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/>
          <p:nvPr userDrawn="1"/>
        </p:nvCxnSpPr>
        <p:spPr>
          <a:xfrm rot="-5400000">
            <a:off x="3796653" y="5536653"/>
            <a:ext cx="0" cy="201706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ounded Rectangle 157"/>
          <p:cNvSpPr/>
          <p:nvPr userDrawn="1"/>
        </p:nvSpPr>
        <p:spPr>
          <a:xfrm>
            <a:off x="4486666" y="27076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159" name="Rounded Rectangle 158"/>
          <p:cNvSpPr/>
          <p:nvPr userDrawn="1"/>
        </p:nvSpPr>
        <p:spPr>
          <a:xfrm>
            <a:off x="3944993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160" name="Rounded Rectangle 159"/>
          <p:cNvSpPr/>
          <p:nvPr userDrawn="1"/>
        </p:nvSpPr>
        <p:spPr>
          <a:xfrm>
            <a:off x="3944993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161" name="Rounded Rectangle 160"/>
          <p:cNvSpPr/>
          <p:nvPr userDrawn="1"/>
        </p:nvSpPr>
        <p:spPr>
          <a:xfrm>
            <a:off x="3944993" y="47400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162" name="Rounded Rectangle 161"/>
          <p:cNvSpPr/>
          <p:nvPr userDrawn="1"/>
        </p:nvSpPr>
        <p:spPr>
          <a:xfrm>
            <a:off x="3944993" y="5376518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900">
              <a:solidFill>
                <a:srgbClr val="FFFFFF"/>
              </a:solidFill>
            </a:endParaRPr>
          </a:p>
        </p:txBody>
      </p:sp>
      <p:cxnSp>
        <p:nvCxnSpPr>
          <p:cNvPr id="163" name="Straight Connector 162"/>
          <p:cNvCxnSpPr/>
          <p:nvPr userDrawn="1"/>
        </p:nvCxnSpPr>
        <p:spPr>
          <a:xfrm>
            <a:off x="5929384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/>
          <p:cNvCxnSpPr/>
          <p:nvPr userDrawn="1"/>
        </p:nvCxnSpPr>
        <p:spPr>
          <a:xfrm flipH="1">
            <a:off x="5750905" y="3705221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Rounded Rectangle 173"/>
          <p:cNvSpPr/>
          <p:nvPr userDrawn="1"/>
        </p:nvSpPr>
        <p:spPr>
          <a:xfrm>
            <a:off x="6849249" y="2723664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175" name="Rounded Rectangle 174"/>
          <p:cNvSpPr/>
          <p:nvPr userDrawn="1"/>
        </p:nvSpPr>
        <p:spPr>
          <a:xfrm>
            <a:off x="6307576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176" name="Rounded Rectangle 175"/>
          <p:cNvSpPr/>
          <p:nvPr userDrawn="1"/>
        </p:nvSpPr>
        <p:spPr>
          <a:xfrm>
            <a:off x="6307576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900">
              <a:solidFill>
                <a:srgbClr val="FFFFFF"/>
              </a:solidFill>
            </a:endParaRPr>
          </a:p>
        </p:txBody>
      </p:sp>
      <p:cxnSp>
        <p:nvCxnSpPr>
          <p:cNvPr id="177" name="Straight Connector 176"/>
          <p:cNvCxnSpPr/>
          <p:nvPr userDrawn="1"/>
        </p:nvCxnSpPr>
        <p:spPr>
          <a:xfrm>
            <a:off x="8291967" y="3281832"/>
            <a:ext cx="0" cy="1068546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0" name="Rounded Rectangle 179"/>
          <p:cNvSpPr/>
          <p:nvPr userDrawn="1"/>
        </p:nvSpPr>
        <p:spPr>
          <a:xfrm>
            <a:off x="9018041" y="3445559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181" name="Rounded Rectangle 180"/>
          <p:cNvSpPr/>
          <p:nvPr userDrawn="1"/>
        </p:nvSpPr>
        <p:spPr>
          <a:xfrm>
            <a:off x="8476368" y="417734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182" name="Rounded Rectangle 181"/>
          <p:cNvSpPr/>
          <p:nvPr userDrawn="1"/>
        </p:nvSpPr>
        <p:spPr>
          <a:xfrm>
            <a:off x="8476368" y="4830540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183" name="Rounded Rectangle 182"/>
          <p:cNvSpPr/>
          <p:nvPr userDrawn="1"/>
        </p:nvSpPr>
        <p:spPr>
          <a:xfrm>
            <a:off x="8476368" y="546191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900">
              <a:solidFill>
                <a:srgbClr val="FFFFFF"/>
              </a:solidFill>
            </a:endParaRPr>
          </a:p>
        </p:txBody>
      </p:sp>
      <p:cxnSp>
        <p:nvCxnSpPr>
          <p:cNvPr id="185" name="Straight Connector 184"/>
          <p:cNvCxnSpPr/>
          <p:nvPr userDrawn="1"/>
        </p:nvCxnSpPr>
        <p:spPr>
          <a:xfrm>
            <a:off x="10460759" y="4003727"/>
            <a:ext cx="0" cy="171585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/>
          <p:cNvCxnSpPr/>
          <p:nvPr userDrawn="1"/>
        </p:nvCxnSpPr>
        <p:spPr>
          <a:xfrm flipH="1">
            <a:off x="10291072" y="4427116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Straight Connector 198"/>
          <p:cNvCxnSpPr/>
          <p:nvPr userDrawn="1"/>
        </p:nvCxnSpPr>
        <p:spPr>
          <a:xfrm>
            <a:off x="7834402" y="2530165"/>
            <a:ext cx="0" cy="177457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Connector 199"/>
          <p:cNvCxnSpPr/>
          <p:nvPr userDrawn="1"/>
        </p:nvCxnSpPr>
        <p:spPr>
          <a:xfrm flipH="1">
            <a:off x="6322236" y="1853247"/>
            <a:ext cx="3545494" cy="0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Connector 200"/>
          <p:cNvCxnSpPr/>
          <p:nvPr userDrawn="1"/>
        </p:nvCxnSpPr>
        <p:spPr>
          <a:xfrm flipV="1">
            <a:off x="9867730" y="1852539"/>
            <a:ext cx="0" cy="1560250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/>
          <p:cNvCxnSpPr/>
          <p:nvPr userDrawn="1"/>
        </p:nvCxnSpPr>
        <p:spPr>
          <a:xfrm flipH="1">
            <a:off x="8104941" y="3725455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Rounded Rectangle 209"/>
          <p:cNvSpPr/>
          <p:nvPr userDrawn="1"/>
        </p:nvSpPr>
        <p:spPr>
          <a:xfrm>
            <a:off x="4486666" y="160589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20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610101" y="1738623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0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610101" y="1903354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04650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2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604650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3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976375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4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6976375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5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2239275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6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2239275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17" name="Straight Connector 216"/>
          <p:cNvCxnSpPr/>
          <p:nvPr userDrawn="1"/>
        </p:nvCxnSpPr>
        <p:spPr>
          <a:xfrm flipH="1">
            <a:off x="8104941" y="4350930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166142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9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166142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20" name="Straight Connector 219"/>
          <p:cNvCxnSpPr/>
          <p:nvPr userDrawn="1"/>
        </p:nvCxnSpPr>
        <p:spPr>
          <a:xfrm flipH="1">
            <a:off x="3331590" y="373442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/>
          <p:cNvCxnSpPr/>
          <p:nvPr userDrawn="1"/>
        </p:nvCxnSpPr>
        <p:spPr>
          <a:xfrm flipH="1">
            <a:off x="3331590" y="5007603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/>
          <p:cNvCxnSpPr/>
          <p:nvPr userDrawn="1"/>
        </p:nvCxnSpPr>
        <p:spPr>
          <a:xfrm flipH="1">
            <a:off x="3331590" y="563307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1661425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4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1661425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2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1661425" y="486992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1661425" y="503465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27" name="Text Placeholder 7"/>
          <p:cNvSpPr>
            <a:spLocks noGrp="1"/>
          </p:cNvSpPr>
          <p:nvPr>
            <p:ph type="body" sz="quarter" idx="25" hasCustomPrompt="1"/>
          </p:nvPr>
        </p:nvSpPr>
        <p:spPr>
          <a:xfrm>
            <a:off x="1661425" y="5508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8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1661425" y="5672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0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4063966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1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063966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2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4063966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3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4063966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4" name="Text Placeholder 7"/>
          <p:cNvSpPr>
            <a:spLocks noGrp="1"/>
          </p:cNvSpPr>
          <p:nvPr>
            <p:ph type="body" sz="quarter" idx="31" hasCustomPrompt="1"/>
          </p:nvPr>
        </p:nvSpPr>
        <p:spPr>
          <a:xfrm>
            <a:off x="4063966" y="486992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5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4063966" y="503465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6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4063966" y="5508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7" name="Text Placehold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063966" y="5672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5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8600107" y="4312984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46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8600107" y="4477715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7" name="Text Placeholder 7"/>
          <p:cNvSpPr>
            <a:spLocks noGrp="1"/>
          </p:cNvSpPr>
          <p:nvPr>
            <p:ph type="body" sz="quarter" idx="37" hasCustomPrompt="1"/>
          </p:nvPr>
        </p:nvSpPr>
        <p:spPr>
          <a:xfrm>
            <a:off x="8600107" y="4941634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48" name="Text Placeholder 7"/>
          <p:cNvSpPr>
            <a:spLocks noGrp="1"/>
          </p:cNvSpPr>
          <p:nvPr>
            <p:ph type="body" sz="quarter" idx="38" hasCustomPrompt="1"/>
          </p:nvPr>
        </p:nvSpPr>
        <p:spPr>
          <a:xfrm>
            <a:off x="8600107" y="5106365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9" name="Text Placeholder 7"/>
          <p:cNvSpPr>
            <a:spLocks noGrp="1"/>
          </p:cNvSpPr>
          <p:nvPr>
            <p:ph type="body" sz="quarter" idx="39" hasCustomPrompt="1"/>
          </p:nvPr>
        </p:nvSpPr>
        <p:spPr>
          <a:xfrm>
            <a:off x="8600107" y="5579809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0" name="Text Placeholder 7"/>
          <p:cNvSpPr>
            <a:spLocks noGrp="1"/>
          </p:cNvSpPr>
          <p:nvPr>
            <p:ph type="body" sz="quarter" idx="40" hasCustomPrompt="1"/>
          </p:nvPr>
        </p:nvSpPr>
        <p:spPr>
          <a:xfrm>
            <a:off x="8600107" y="5744540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1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643662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2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643662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3" name="Text Placeholder 7"/>
          <p:cNvSpPr>
            <a:spLocks noGrp="1"/>
          </p:cNvSpPr>
          <p:nvPr>
            <p:ph type="body" sz="quarter" idx="43" hasCustomPrompt="1"/>
          </p:nvPr>
        </p:nvSpPr>
        <p:spPr>
          <a:xfrm>
            <a:off x="6436625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4" name="Text Placeholder 7"/>
          <p:cNvSpPr>
            <a:spLocks noGrp="1"/>
          </p:cNvSpPr>
          <p:nvPr>
            <p:ph type="body" sz="quarter" idx="44" hasCustomPrompt="1"/>
          </p:nvPr>
        </p:nvSpPr>
        <p:spPr>
          <a:xfrm>
            <a:off x="6436625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5" name="Text Placeholder 7"/>
          <p:cNvSpPr>
            <a:spLocks noGrp="1"/>
          </p:cNvSpPr>
          <p:nvPr>
            <p:ph type="body" sz="quarter" idx="45" hasCustomPrompt="1"/>
          </p:nvPr>
        </p:nvSpPr>
        <p:spPr>
          <a:xfrm>
            <a:off x="916189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6" name="Text Placeholder 7"/>
          <p:cNvSpPr>
            <a:spLocks noGrp="1"/>
          </p:cNvSpPr>
          <p:nvPr>
            <p:ph type="body" sz="quarter" idx="46" hasCustomPrompt="1"/>
          </p:nvPr>
        </p:nvSpPr>
        <p:spPr>
          <a:xfrm>
            <a:off x="916189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57" name="Straight Connector 256"/>
          <p:cNvCxnSpPr/>
          <p:nvPr userDrawn="1"/>
        </p:nvCxnSpPr>
        <p:spPr>
          <a:xfrm flipH="1">
            <a:off x="10291072" y="5104123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Straight Connector 257"/>
          <p:cNvCxnSpPr/>
          <p:nvPr userDrawn="1"/>
        </p:nvCxnSpPr>
        <p:spPr>
          <a:xfrm flipH="1">
            <a:off x="10291072" y="5719585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Straight Connector 258"/>
          <p:cNvCxnSpPr/>
          <p:nvPr userDrawn="1"/>
        </p:nvCxnSpPr>
        <p:spPr>
          <a:xfrm flipH="1">
            <a:off x="5750905" y="4377832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Straight Connector 259"/>
          <p:cNvCxnSpPr/>
          <p:nvPr userDrawn="1"/>
        </p:nvCxnSpPr>
        <p:spPr>
          <a:xfrm flipH="1">
            <a:off x="5750905" y="5024067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Straight Connector 260"/>
          <p:cNvCxnSpPr/>
          <p:nvPr userDrawn="1"/>
        </p:nvCxnSpPr>
        <p:spPr>
          <a:xfrm flipH="1">
            <a:off x="5750905" y="5630736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35034604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. Strategy Slid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1784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58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BLANK SLIDE FOR BESPOKE USE.</a:t>
            </a:r>
          </a:p>
        </p:txBody>
      </p:sp>
      <p:sp>
        <p:nvSpPr>
          <p:cNvPr id="7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7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7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88891160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. Strategy Slide Blank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52326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885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NFIDENTIAL SLIDE.</a:t>
            </a:r>
          </a:p>
        </p:txBody>
      </p:sp>
      <p:sp>
        <p:nvSpPr>
          <p:cNvPr id="5" name="Parallelogram 4"/>
          <p:cNvSpPr/>
          <p:nvPr userDrawn="1"/>
        </p:nvSpPr>
        <p:spPr>
          <a:xfrm rot="10800000" flipH="1">
            <a:off x="9353004" y="3501"/>
            <a:ext cx="1514367" cy="998836"/>
          </a:xfrm>
          <a:prstGeom prst="parallelogram">
            <a:avLst>
              <a:gd name="adj" fmla="val 100977"/>
            </a:avLst>
          </a:prstGeom>
          <a:solidFill>
            <a:schemeClr val="accent4"/>
          </a:solidFill>
          <a:ln>
            <a:noFill/>
          </a:ln>
          <a:effectLst>
            <a:outerShdw blurRad="381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 rot="2653766">
            <a:off x="9346483" y="320608"/>
            <a:ext cx="1546873" cy="3552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NFIDENTIAL</a:t>
            </a:r>
          </a:p>
        </p:txBody>
      </p:sp>
      <p:sp>
        <p:nvSpPr>
          <p:cNvPr id="6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65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65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54518970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. Strategy Slide 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6857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04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EXECUTIVE SUMMARY SLIDE.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36571" y="1548820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| 01</a:t>
            </a:r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557293" y="1550217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br>
              <a:rPr lang="en-US"/>
            </a:br>
            <a:r>
              <a:rPr lang="en-US"/>
              <a:t>• 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38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36571" y="2462733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| 02</a:t>
            </a:r>
          </a:p>
        </p:txBody>
      </p:sp>
      <p:sp>
        <p:nvSpPr>
          <p:cNvPr id="41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36570" y="3380924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/>
              <a:t>| 03</a:t>
            </a:r>
          </a:p>
        </p:txBody>
      </p:sp>
      <p:sp>
        <p:nvSpPr>
          <p:cNvPr id="44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736570" y="4298839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| 04</a:t>
            </a:r>
          </a:p>
        </p:txBody>
      </p:sp>
      <p:sp>
        <p:nvSpPr>
          <p:cNvPr id="50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736570" y="5184791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| 05</a:t>
            </a:r>
          </a:p>
        </p:txBody>
      </p:sp>
      <p:sp>
        <p:nvSpPr>
          <p:cNvPr id="52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1557293" y="2462733"/>
            <a:ext cx="5284941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br>
              <a:rPr lang="en-US"/>
            </a:br>
            <a:r>
              <a:rPr lang="en-US"/>
              <a:t>• Lea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</a:p>
        </p:txBody>
      </p:sp>
      <p:sp>
        <p:nvSpPr>
          <p:cNvPr id="53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1557293" y="3376282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br>
              <a:rPr lang="en-US"/>
            </a:br>
            <a:r>
              <a:rPr lang="en-US"/>
              <a:t>•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endParaRPr lang="en-US"/>
          </a:p>
        </p:txBody>
      </p:sp>
      <p:sp>
        <p:nvSpPr>
          <p:cNvPr id="54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1557293" y="4297539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 </a:t>
            </a:r>
            <a:r>
              <a:rPr lang="en-US" err="1"/>
              <a:t>prompta</a:t>
            </a:r>
            <a:r>
              <a:rPr lang="en-US"/>
              <a:t> qui no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55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1557293" y="5187109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imperdie</a:t>
            </a:r>
            <a:br>
              <a:rPr lang="en-US"/>
            </a:br>
            <a:r>
              <a:rPr lang="en-US"/>
              <a:t>•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</a:p>
        </p:txBody>
      </p:sp>
      <p:sp>
        <p:nvSpPr>
          <p:cNvPr id="5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5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08820427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LLA Slide - Large Bol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0885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31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LARGE BOLD TEXT FOR CREATIVE INTEREST.</a:t>
            </a:r>
          </a:p>
        </p:txBody>
      </p:sp>
      <p:sp>
        <p:nvSpPr>
          <p:cNvPr id="44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10348785" cy="43800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4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4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32598682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p31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4627685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ont Cover Slide - Fibre Optic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9588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44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8"/>
          <a:stretch/>
        </p:blipFill>
        <p:spPr>
          <a:xfrm>
            <a:off x="0" y="15589"/>
            <a:ext cx="12192000" cy="4708829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7" cstate="screen">
            <a:alphaModFix amt="3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19861" y="0"/>
            <a:ext cx="2372139" cy="4802775"/>
          </a:xfrm>
          <a:prstGeom prst="rect">
            <a:avLst/>
          </a:prstGeom>
          <a:effectLst/>
        </p:spPr>
      </p:pic>
      <p:sp>
        <p:nvSpPr>
          <p:cNvPr id="10" name="Rounded Rectangle 9"/>
          <p:cNvSpPr/>
          <p:nvPr userDrawn="1"/>
        </p:nvSpPr>
        <p:spPr>
          <a:xfrm>
            <a:off x="2552617" y="4351843"/>
            <a:ext cx="1148080" cy="450932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1600">
              <a:solidFill>
                <a:srgbClr val="FFFFFF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548398" y="4712870"/>
            <a:ext cx="1144933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ounded Rectangle 11"/>
          <p:cNvSpPr/>
          <p:nvPr userDrawn="1"/>
        </p:nvSpPr>
        <p:spPr>
          <a:xfrm>
            <a:off x="1366112" y="4351843"/>
            <a:ext cx="1148080" cy="450932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1600">
              <a:solidFill>
                <a:srgbClr val="FFFFFF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1370281" y="4712870"/>
            <a:ext cx="1144933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ounded Rectangle 13"/>
          <p:cNvSpPr/>
          <p:nvPr userDrawn="1"/>
        </p:nvSpPr>
        <p:spPr>
          <a:xfrm>
            <a:off x="182404" y="4351843"/>
            <a:ext cx="1148080" cy="450932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223643" y="4261406"/>
            <a:ext cx="1119423" cy="61555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en-US" sz="400">
                <a:solidFill>
                  <a:srgbClr val="FFFFFF"/>
                </a:solidFill>
              </a:rPr>
              <a:t>Part of Liberty Latin America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144" t="13098" r="7849" b="8586"/>
          <a:stretch/>
        </p:blipFill>
        <p:spPr>
          <a:xfrm>
            <a:off x="310601" y="4409887"/>
            <a:ext cx="873110" cy="232210"/>
          </a:xfrm>
          <a:prstGeom prst="rect">
            <a:avLst/>
          </a:prstGeom>
          <a:effectLst/>
        </p:spPr>
      </p:pic>
      <p:cxnSp>
        <p:nvCxnSpPr>
          <p:cNvPr id="17" name="Straight Connector 16"/>
          <p:cNvCxnSpPr/>
          <p:nvPr userDrawn="1"/>
        </p:nvCxnSpPr>
        <p:spPr>
          <a:xfrm flipV="1">
            <a:off x="182404" y="4719044"/>
            <a:ext cx="1149102" cy="14409"/>
          </a:xfrm>
          <a:prstGeom prst="line">
            <a:avLst/>
          </a:prstGeom>
          <a:ln w="38100">
            <a:solidFill>
              <a:schemeClr val="accent6">
                <a:lumMod val="50000"/>
              </a:schemeClr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402383"/>
            <a:ext cx="2743200" cy="271225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3747193-3331-4B94-94C7-B3CA543CF7DF}" type="datetime2">
              <a:rPr lang="en-US" smtClean="0">
                <a:solidFill>
                  <a:srgbClr val="3E3838"/>
                </a:solidFill>
              </a:rPr>
              <a:pPr>
                <a:defRPr/>
              </a:pPr>
              <a:t>Sunday, July 17, 2022</a:t>
            </a:fld>
            <a:endParaRPr lang="en-US">
              <a:solidFill>
                <a:srgbClr val="3E3838"/>
              </a:solidFill>
            </a:endParaRPr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5143500"/>
            <a:ext cx="9939866" cy="529167"/>
          </a:xfrm>
          <a:prstGeom prst="rect">
            <a:avLst/>
          </a:prstGeom>
        </p:spPr>
        <p:txBody>
          <a:bodyPr lIns="0" tIns="0" rIns="0" bIns="0"/>
          <a:lstStyle>
            <a:lvl1pPr>
              <a:defRPr baseline="0"/>
            </a:lvl1pPr>
          </a:lstStyle>
          <a:p>
            <a:r>
              <a:rPr lang="en-US"/>
              <a:t>FRONT COVER SLIDE | UPPERCASE ONLY | 32P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5742569"/>
            <a:ext cx="9939867" cy="345184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aseline="0"/>
            </a:lvl1pPr>
          </a:lstStyle>
          <a:p>
            <a:pPr lvl="0"/>
            <a:r>
              <a:rPr lang="en-US"/>
              <a:t>FRONT COVER SUB HEADING | UPPERCASE ONLY | 18PT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0" y="4730154"/>
            <a:ext cx="12191999" cy="2826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1600">
              <a:solidFill>
                <a:srgbClr val="FFFFFF"/>
              </a:solidFill>
            </a:endParaRPr>
          </a:p>
        </p:txBody>
      </p:sp>
      <p:cxnSp>
        <p:nvCxnSpPr>
          <p:cNvPr id="26" name="Straight Connector 25"/>
          <p:cNvCxnSpPr/>
          <p:nvPr userDrawn="1"/>
        </p:nvCxnSpPr>
        <p:spPr>
          <a:xfrm>
            <a:off x="0" y="4715383"/>
            <a:ext cx="12192000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3" name="Picture 52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4123" y="4362840"/>
            <a:ext cx="692427" cy="325697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0811" y="4387517"/>
            <a:ext cx="653109" cy="268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69243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 Strategy Slide - Numbered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10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7453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NUMBERED BULLET POINTS WITH DESCRIPTIONS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36571" y="1548820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| 01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546783" y="1548820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4" y="2080519"/>
            <a:ext cx="5980386" cy="408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7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36571" y="2678157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| 02</a:t>
            </a:r>
          </a:p>
        </p:txBody>
      </p:sp>
      <p:sp>
        <p:nvSpPr>
          <p:cNvPr id="77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546783" y="2678157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7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25214" y="3209856"/>
            <a:ext cx="5475889" cy="408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79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36571" y="3809511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| 03</a:t>
            </a:r>
          </a:p>
        </p:txBody>
      </p:sp>
      <p:sp>
        <p:nvSpPr>
          <p:cNvPr id="80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1546783" y="3809511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81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725214" y="4341210"/>
            <a:ext cx="5707117" cy="392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5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736571" y="4927598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| 04</a:t>
            </a:r>
          </a:p>
        </p:txBody>
      </p:sp>
      <p:sp>
        <p:nvSpPr>
          <p:cNvPr id="86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1546783" y="4927598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87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725214" y="5459297"/>
            <a:ext cx="5085527" cy="392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9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9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87273175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Front Cover Slide - Fibre Optic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FEABE88-742E-41C3-BB22-5C1E4EC979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3019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592" imgH="591" progId="TCLayout.ActiveDocument.1">
                  <p:embed/>
                </p:oleObj>
              </mc:Choice>
              <mc:Fallback>
                <p:oleObj name="Diapositiva de think-cell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FEABE88-742E-41C3-BB22-5C1E4EC979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9972D0F-5B45-4A77-B504-F73820C547E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584BA00-5A5A-49D8-8A4C-5325E89B56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76" y="0"/>
            <a:ext cx="12188824" cy="5101753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7" cstate="screen">
            <a:alphaModFix amt="3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19861" y="0"/>
            <a:ext cx="2372139" cy="4802775"/>
          </a:xfrm>
          <a:prstGeom prst="rect">
            <a:avLst/>
          </a:prstGeom>
          <a:effectLst/>
        </p:spPr>
      </p:pic>
      <p:sp>
        <p:nvSpPr>
          <p:cNvPr id="10" name="Rounded Rectangle 9"/>
          <p:cNvSpPr/>
          <p:nvPr userDrawn="1"/>
        </p:nvSpPr>
        <p:spPr>
          <a:xfrm>
            <a:off x="2552617" y="4720143"/>
            <a:ext cx="1148080" cy="450932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1600">
              <a:solidFill>
                <a:srgbClr val="FFFFFF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548398" y="5081170"/>
            <a:ext cx="1144933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ounded Rectangle 11"/>
          <p:cNvSpPr/>
          <p:nvPr userDrawn="1"/>
        </p:nvSpPr>
        <p:spPr>
          <a:xfrm>
            <a:off x="1366112" y="4720143"/>
            <a:ext cx="1148080" cy="450932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1600">
              <a:solidFill>
                <a:srgbClr val="FFFFFF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1370281" y="5081170"/>
            <a:ext cx="1144933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ounded Rectangle 13"/>
          <p:cNvSpPr/>
          <p:nvPr userDrawn="1"/>
        </p:nvSpPr>
        <p:spPr>
          <a:xfrm>
            <a:off x="182404" y="4720143"/>
            <a:ext cx="1148080" cy="450932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223643" y="4629706"/>
            <a:ext cx="1119423" cy="61555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en-US" sz="400">
                <a:solidFill>
                  <a:srgbClr val="FFFFFF"/>
                </a:solidFill>
              </a:rPr>
              <a:t>Part of Liberty Latin America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144" t="13098" r="7849" b="8586"/>
          <a:stretch/>
        </p:blipFill>
        <p:spPr>
          <a:xfrm>
            <a:off x="310601" y="4778187"/>
            <a:ext cx="873110" cy="232210"/>
          </a:xfrm>
          <a:prstGeom prst="rect">
            <a:avLst/>
          </a:prstGeom>
          <a:effectLst/>
        </p:spPr>
      </p:pic>
      <p:cxnSp>
        <p:nvCxnSpPr>
          <p:cNvPr id="17" name="Straight Connector 16"/>
          <p:cNvCxnSpPr/>
          <p:nvPr userDrawn="1"/>
        </p:nvCxnSpPr>
        <p:spPr>
          <a:xfrm flipV="1">
            <a:off x="182404" y="5087344"/>
            <a:ext cx="1149102" cy="14409"/>
          </a:xfrm>
          <a:prstGeom prst="line">
            <a:avLst/>
          </a:prstGeom>
          <a:ln w="38100">
            <a:solidFill>
              <a:schemeClr val="accent6">
                <a:lumMod val="50000"/>
              </a:schemeClr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5868983"/>
            <a:ext cx="2743200" cy="271225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09CF5F40-A6E3-4F12-980F-3C2C12AE0FC5}" type="datetime2">
              <a:rPr lang="en-US" smtClean="0">
                <a:solidFill>
                  <a:srgbClr val="3E3838"/>
                </a:solidFill>
              </a:rPr>
              <a:pPr>
                <a:defRPr/>
              </a:pPr>
              <a:t>Sunday, July 17, 2022</a:t>
            </a:fld>
            <a:endParaRPr lang="en-US">
              <a:solidFill>
                <a:srgbClr val="3E3838"/>
              </a:solidFill>
            </a:endParaRPr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5511800"/>
            <a:ext cx="9939866" cy="529167"/>
          </a:xfrm>
          <a:prstGeom prst="rect">
            <a:avLst/>
          </a:prstGeom>
        </p:spPr>
        <p:txBody>
          <a:bodyPr lIns="0" tIns="0" rIns="0" bIns="0"/>
          <a:lstStyle>
            <a:lvl1pPr>
              <a:defRPr baseline="0"/>
            </a:lvl1pPr>
          </a:lstStyle>
          <a:p>
            <a:r>
              <a:rPr lang="en-US"/>
              <a:t>FRONT COVER SLIDE | UPPERCASE ONLY | 32P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6110869"/>
            <a:ext cx="9939867" cy="345184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aseline="0"/>
            </a:lvl1pPr>
          </a:lstStyle>
          <a:p>
            <a:pPr lvl="0"/>
            <a:r>
              <a:rPr lang="en-US"/>
              <a:t>FRONT COVER SUB HEADING | UPPERCASE ONLY | 18PT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0" y="5098454"/>
            <a:ext cx="12191999" cy="2826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1600">
              <a:solidFill>
                <a:srgbClr val="FFFFFF"/>
              </a:solidFill>
            </a:endParaRPr>
          </a:p>
        </p:txBody>
      </p:sp>
      <p:cxnSp>
        <p:nvCxnSpPr>
          <p:cNvPr id="26" name="Straight Connector 25"/>
          <p:cNvCxnSpPr/>
          <p:nvPr userDrawn="1"/>
        </p:nvCxnSpPr>
        <p:spPr>
          <a:xfrm>
            <a:off x="0" y="5083683"/>
            <a:ext cx="12192000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3" name="Picture 52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4123" y="4731140"/>
            <a:ext cx="692427" cy="325697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0811" y="4755817"/>
            <a:ext cx="653109" cy="268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262131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Strategy Slide -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17638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31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NTENTS PAGE/SLIDE WITH NUMBERS.</a:t>
            </a:r>
          </a:p>
        </p:txBody>
      </p:sp>
      <p:graphicFrame>
        <p:nvGraphicFramePr>
          <p:cNvPr id="12" name="Table 11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924360880"/>
              </p:ext>
            </p:extLst>
          </p:nvPr>
        </p:nvGraphicFramePr>
        <p:xfrm>
          <a:off x="725212" y="1553302"/>
          <a:ext cx="10773104" cy="4246129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94488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43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INTRODUCTION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6254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IRST TOPIC HER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  <a:endParaRPr lang="en-US" sz="1200" baseline="0">
                        <a:solidFill>
                          <a:schemeClr val="accent3"/>
                        </a:solidFill>
                      </a:endParaRP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Third Subject Heading Her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3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4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5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3682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ECOND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TOPIC HER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7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8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9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THIRD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0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OURTH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62546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IFTH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Third Subject Heading Her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8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19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20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2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IXTH TOPIC HERE.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2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EVENTH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TOPIC HER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4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7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8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8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41679880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Strategy Slide - Intro Para,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8799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NTRO PARAGRAPH WITH BULLET POINTS AND PICTURE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26231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3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65822471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Strategy Slide - Intro Para, Bullets, 4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87655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NTRO PARAGRAPH WITH BULLET POINTS AND 4 X PICTURES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1" y="15525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26231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37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804400" y="15525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38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7550151" y="37623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39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9804400" y="37623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40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41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2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45328297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 Strategy Slide - Large Bol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1806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050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LARGE BOLD TEXT FOR CREATIVE INTEREST.</a:t>
            </a:r>
          </a:p>
        </p:txBody>
      </p:sp>
      <p:sp>
        <p:nvSpPr>
          <p:cNvPr id="44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10348785" cy="43800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4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4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12899342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 Strategy Slide - Large Bold 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43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86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LARGE BOLD TEXT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5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6444347" cy="32050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s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</a:t>
            </a:r>
          </a:p>
        </p:txBody>
      </p:sp>
      <p:sp>
        <p:nvSpPr>
          <p:cNvPr id="7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7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7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28466648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 Strategy Slide - Numbered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8757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7453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NUMBERED BULLET POINTS WITH DESCRIPTIONS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36571" y="1548820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| 01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546783" y="1548820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4" y="2080519"/>
            <a:ext cx="5980386" cy="408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7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36571" y="2678157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| 02</a:t>
            </a:r>
          </a:p>
        </p:txBody>
      </p:sp>
      <p:sp>
        <p:nvSpPr>
          <p:cNvPr id="77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546783" y="2678157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7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25214" y="3209856"/>
            <a:ext cx="5475889" cy="408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79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36571" y="3809511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| 03</a:t>
            </a:r>
          </a:p>
        </p:txBody>
      </p:sp>
      <p:sp>
        <p:nvSpPr>
          <p:cNvPr id="80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1546783" y="3809511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81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725214" y="4341210"/>
            <a:ext cx="5707117" cy="392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5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736571" y="4927598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| 04</a:t>
            </a:r>
          </a:p>
        </p:txBody>
      </p:sp>
      <p:sp>
        <p:nvSpPr>
          <p:cNvPr id="86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1546783" y="4927598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87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725214" y="5459297"/>
            <a:ext cx="5085527" cy="392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9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9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89693477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 Strategy Slide - Icon/Symbol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244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86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CON/SYMBOL BULLET POINTS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546782" y="1548820"/>
            <a:ext cx="5493795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4" hasCustomPrompt="1"/>
          </p:nvPr>
        </p:nvSpPr>
        <p:spPr>
          <a:xfrm>
            <a:off x="725213" y="1536239"/>
            <a:ext cx="726483" cy="584200"/>
          </a:xfrm>
          <a:prstGeom prst="rect">
            <a:avLst/>
          </a:prstGeom>
          <a:solidFill>
            <a:schemeClr val="accent3">
              <a:lumMod val="5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54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1546782" y="2362201"/>
            <a:ext cx="5751873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55" name="Picture Placeholder 5"/>
          <p:cNvSpPr>
            <a:spLocks noGrp="1"/>
          </p:cNvSpPr>
          <p:nvPr>
            <p:ph type="pic" sz="quarter" idx="26" hasCustomPrompt="1"/>
          </p:nvPr>
        </p:nvSpPr>
        <p:spPr>
          <a:xfrm>
            <a:off x="725213" y="2349620"/>
            <a:ext cx="726483" cy="584200"/>
          </a:xfrm>
          <a:prstGeom prst="rect">
            <a:avLst/>
          </a:prstGeom>
          <a:solidFill>
            <a:schemeClr val="accent3">
              <a:lumMod val="75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82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1546783" y="3191126"/>
            <a:ext cx="4801368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3" name="Picture Placeholder 5"/>
          <p:cNvSpPr>
            <a:spLocks noGrp="1"/>
          </p:cNvSpPr>
          <p:nvPr>
            <p:ph type="pic" sz="quarter" idx="28" hasCustomPrompt="1"/>
          </p:nvPr>
        </p:nvSpPr>
        <p:spPr>
          <a:xfrm>
            <a:off x="725213" y="3178545"/>
            <a:ext cx="726483" cy="584200"/>
          </a:xfrm>
          <a:prstGeom prst="rect">
            <a:avLst/>
          </a:prstGeom>
          <a:solidFill>
            <a:schemeClr val="accent3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84" name="Text Placeholder 9"/>
          <p:cNvSpPr>
            <a:spLocks noGrp="1"/>
          </p:cNvSpPr>
          <p:nvPr>
            <p:ph type="body" sz="quarter" idx="29" hasCustomPrompt="1"/>
          </p:nvPr>
        </p:nvSpPr>
        <p:spPr>
          <a:xfrm>
            <a:off x="1546783" y="4034623"/>
            <a:ext cx="5493794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br>
              <a:rPr lang="en-US"/>
            </a:b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8" name="Picture Placeholder 5"/>
          <p:cNvSpPr>
            <a:spLocks noGrp="1"/>
          </p:cNvSpPr>
          <p:nvPr>
            <p:ph type="pic" sz="quarter" idx="30" hasCustomPrompt="1"/>
          </p:nvPr>
        </p:nvSpPr>
        <p:spPr>
          <a:xfrm>
            <a:off x="725213" y="4022042"/>
            <a:ext cx="726483" cy="584200"/>
          </a:xfrm>
          <a:prstGeom prst="rect">
            <a:avLst/>
          </a:prstGeom>
          <a:solidFill>
            <a:schemeClr val="tx1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93" name="Text Placeholder 9"/>
          <p:cNvSpPr>
            <a:spLocks noGrp="1"/>
          </p:cNvSpPr>
          <p:nvPr>
            <p:ph type="body" sz="quarter" idx="31" hasCustomPrompt="1"/>
          </p:nvPr>
        </p:nvSpPr>
        <p:spPr>
          <a:xfrm>
            <a:off x="1546783" y="4874167"/>
            <a:ext cx="5863010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94" name="Picture Placeholder 5"/>
          <p:cNvSpPr>
            <a:spLocks noGrp="1"/>
          </p:cNvSpPr>
          <p:nvPr>
            <p:ph type="pic" sz="quarter" idx="32" hasCustomPrompt="1"/>
          </p:nvPr>
        </p:nvSpPr>
        <p:spPr>
          <a:xfrm>
            <a:off x="725213" y="4861586"/>
            <a:ext cx="726483" cy="584200"/>
          </a:xfrm>
          <a:prstGeom prst="rect">
            <a:avLst/>
          </a:prstGeom>
          <a:solidFill>
            <a:schemeClr val="tx2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9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9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9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63860084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 Strategy Slide - 5 Circle Icon/Symbol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3443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cxnSp>
        <p:nvCxnSpPr>
          <p:cNvPr id="92" name="Straight Connector 91"/>
          <p:cNvCxnSpPr/>
          <p:nvPr userDrawn="1"/>
        </p:nvCxnSpPr>
        <p:spPr>
          <a:xfrm>
            <a:off x="2069538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/>
          <p:nvPr userDrawn="1"/>
        </p:nvCxnSpPr>
        <p:spPr>
          <a:xfrm>
            <a:off x="4054400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1750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FIVE CIRCLE ICON/SYMBOLS WITH BULLET POINTS.</a:t>
            </a:r>
          </a:p>
        </p:txBody>
      </p:sp>
      <p:sp>
        <p:nvSpPr>
          <p:cNvPr id="80" name="Oval 79"/>
          <p:cNvSpPr/>
          <p:nvPr userDrawn="1"/>
        </p:nvSpPr>
        <p:spPr>
          <a:xfrm>
            <a:off x="1401475" y="1653167"/>
            <a:ext cx="1341345" cy="1341345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85" name="TextBox 84"/>
          <p:cNvSpPr txBox="1"/>
          <p:nvPr userDrawn="1"/>
        </p:nvSpPr>
        <p:spPr>
          <a:xfrm>
            <a:off x="1636402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5000">
                <a:solidFill>
                  <a:srgbClr val="FFFFFF"/>
                </a:solidFill>
              </a:rPr>
              <a:t>01</a:t>
            </a:r>
          </a:p>
        </p:txBody>
      </p:sp>
      <p:pic>
        <p:nvPicPr>
          <p:cNvPr id="86" name="Picture 85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7578" y="2424127"/>
            <a:ext cx="575529" cy="383686"/>
          </a:xfrm>
          <a:prstGeom prst="rect">
            <a:avLst/>
          </a:prstGeom>
        </p:spPr>
      </p:pic>
      <p:sp>
        <p:nvSpPr>
          <p:cNvPr id="10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232815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06" name="Oval 105"/>
          <p:cNvSpPr/>
          <p:nvPr userDrawn="1"/>
        </p:nvSpPr>
        <p:spPr>
          <a:xfrm>
            <a:off x="3386337" y="1653167"/>
            <a:ext cx="1341345" cy="1341345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107" name="TextBox 106"/>
          <p:cNvSpPr txBox="1"/>
          <p:nvPr userDrawn="1"/>
        </p:nvSpPr>
        <p:spPr>
          <a:xfrm>
            <a:off x="3621264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5000">
                <a:solidFill>
                  <a:srgbClr val="FFFFFF"/>
                </a:solidFill>
              </a:rPr>
              <a:t>02</a:t>
            </a:r>
          </a:p>
        </p:txBody>
      </p:sp>
      <p:sp>
        <p:nvSpPr>
          <p:cNvPr id="11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217677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99" name="Picture 98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5852" y="2409762"/>
            <a:ext cx="277095" cy="512721"/>
          </a:xfrm>
          <a:prstGeom prst="rect">
            <a:avLst/>
          </a:prstGeom>
        </p:spPr>
      </p:pic>
      <p:cxnSp>
        <p:nvCxnSpPr>
          <p:cNvPr id="112" name="Straight Connector 111"/>
          <p:cNvCxnSpPr/>
          <p:nvPr userDrawn="1"/>
        </p:nvCxnSpPr>
        <p:spPr>
          <a:xfrm>
            <a:off x="6044322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Oval 112"/>
          <p:cNvSpPr/>
          <p:nvPr userDrawn="1"/>
        </p:nvSpPr>
        <p:spPr>
          <a:xfrm>
            <a:off x="5376259" y="1653167"/>
            <a:ext cx="1341345" cy="1341345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114" name="TextBox 113"/>
          <p:cNvSpPr txBox="1"/>
          <p:nvPr userDrawn="1"/>
        </p:nvSpPr>
        <p:spPr>
          <a:xfrm>
            <a:off x="5611186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5000">
                <a:solidFill>
                  <a:srgbClr val="FFFFFF"/>
                </a:solidFill>
              </a:rPr>
              <a:t>03</a:t>
            </a:r>
          </a:p>
        </p:txBody>
      </p:sp>
      <p:sp>
        <p:nvSpPr>
          <p:cNvPr id="11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207599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98" name="Picture 97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75509" y="2370311"/>
            <a:ext cx="537625" cy="472590"/>
          </a:xfrm>
          <a:prstGeom prst="rect">
            <a:avLst/>
          </a:prstGeom>
        </p:spPr>
      </p:pic>
      <p:cxnSp>
        <p:nvCxnSpPr>
          <p:cNvPr id="118" name="Straight Connector 117"/>
          <p:cNvCxnSpPr/>
          <p:nvPr userDrawn="1"/>
        </p:nvCxnSpPr>
        <p:spPr>
          <a:xfrm>
            <a:off x="8017846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Oval 118"/>
          <p:cNvSpPr/>
          <p:nvPr userDrawn="1"/>
        </p:nvSpPr>
        <p:spPr>
          <a:xfrm>
            <a:off x="7349783" y="1653167"/>
            <a:ext cx="1341345" cy="1341345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120" name="TextBox 119"/>
          <p:cNvSpPr txBox="1"/>
          <p:nvPr userDrawn="1"/>
        </p:nvSpPr>
        <p:spPr>
          <a:xfrm>
            <a:off x="7584710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5000">
                <a:solidFill>
                  <a:srgbClr val="FFFFFF"/>
                </a:solidFill>
              </a:rPr>
              <a:t>04</a:t>
            </a:r>
          </a:p>
        </p:txBody>
      </p:sp>
      <p:sp>
        <p:nvSpPr>
          <p:cNvPr id="122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181123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100" name="Picture 99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1756" y="2406174"/>
            <a:ext cx="432179" cy="410414"/>
          </a:xfrm>
          <a:prstGeom prst="rect">
            <a:avLst/>
          </a:prstGeom>
        </p:spPr>
      </p:pic>
      <p:cxnSp>
        <p:nvCxnSpPr>
          <p:cNvPr id="124" name="Straight Connector 123"/>
          <p:cNvCxnSpPr/>
          <p:nvPr userDrawn="1"/>
        </p:nvCxnSpPr>
        <p:spPr>
          <a:xfrm>
            <a:off x="9988760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Oval 124"/>
          <p:cNvSpPr/>
          <p:nvPr userDrawn="1"/>
        </p:nvSpPr>
        <p:spPr>
          <a:xfrm>
            <a:off x="9320697" y="1653167"/>
            <a:ext cx="1341345" cy="134134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126" name="TextBox 125"/>
          <p:cNvSpPr txBox="1"/>
          <p:nvPr userDrawn="1"/>
        </p:nvSpPr>
        <p:spPr>
          <a:xfrm>
            <a:off x="9555624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5000">
                <a:solidFill>
                  <a:srgbClr val="FFFFFF"/>
                </a:solidFill>
              </a:rPr>
              <a:t>05</a:t>
            </a:r>
          </a:p>
        </p:txBody>
      </p:sp>
      <p:sp>
        <p:nvSpPr>
          <p:cNvPr id="12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52037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130" name="Picture 129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0669" y="2430632"/>
            <a:ext cx="596182" cy="340676"/>
          </a:xfrm>
          <a:prstGeom prst="rect">
            <a:avLst/>
          </a:prstGeom>
        </p:spPr>
      </p:pic>
      <p:sp>
        <p:nvSpPr>
          <p:cNvPr id="42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1232815" y="3524598"/>
            <a:ext cx="1672617" cy="396240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PEOPLE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3215559" y="3524598"/>
            <a:ext cx="1672617" cy="396240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PLACE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5208012" y="3524598"/>
            <a:ext cx="1672617" cy="396240"/>
          </a:xfrm>
          <a:prstGeom prst="rect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TIME</a:t>
            </a:r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7176317" y="3524598"/>
            <a:ext cx="1672617" cy="396240"/>
          </a:xfrm>
          <a:prstGeom prst="rect">
            <a:avLst/>
          </a:prstGeo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RESULT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9144622" y="3524598"/>
            <a:ext cx="1672617" cy="396240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FUTURE</a:t>
            </a:r>
          </a:p>
        </p:txBody>
      </p:sp>
      <p:sp>
        <p:nvSpPr>
          <p:cNvPr id="3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83405541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 Strategy Slide - 3 Numbered Boxes with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2100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58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NUMBERED BOXES WITH TEXT/BULLET POINTS.</a:t>
            </a:r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3044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73149" y="19337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841881" y="18508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41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9239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692649" y="19337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4461381" y="18508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613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5434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55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312149" y="19337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6" name="Oval 55"/>
          <p:cNvSpPr/>
          <p:nvPr userDrawn="1"/>
        </p:nvSpPr>
        <p:spPr>
          <a:xfrm>
            <a:off x="8080881" y="18508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080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7886964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 Strategy Slide - Icon/Symbol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7533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86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CON/SYMBOL BULLET POINTS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546782" y="1548820"/>
            <a:ext cx="5493795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4" hasCustomPrompt="1"/>
          </p:nvPr>
        </p:nvSpPr>
        <p:spPr>
          <a:xfrm>
            <a:off x="725213" y="1536239"/>
            <a:ext cx="726483" cy="584200"/>
          </a:xfrm>
          <a:prstGeom prst="rect">
            <a:avLst/>
          </a:prstGeom>
          <a:solidFill>
            <a:schemeClr val="accent3">
              <a:lumMod val="5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54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1546782" y="2362201"/>
            <a:ext cx="5751873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55" name="Picture Placeholder 5"/>
          <p:cNvSpPr>
            <a:spLocks noGrp="1"/>
          </p:cNvSpPr>
          <p:nvPr>
            <p:ph type="pic" sz="quarter" idx="26" hasCustomPrompt="1"/>
          </p:nvPr>
        </p:nvSpPr>
        <p:spPr>
          <a:xfrm>
            <a:off x="725213" y="2349620"/>
            <a:ext cx="726483" cy="584200"/>
          </a:xfrm>
          <a:prstGeom prst="rect">
            <a:avLst/>
          </a:prstGeom>
          <a:solidFill>
            <a:schemeClr val="accent3">
              <a:lumMod val="75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82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1546783" y="3191126"/>
            <a:ext cx="4801368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3" name="Picture Placeholder 5"/>
          <p:cNvSpPr>
            <a:spLocks noGrp="1"/>
          </p:cNvSpPr>
          <p:nvPr>
            <p:ph type="pic" sz="quarter" idx="28" hasCustomPrompt="1"/>
          </p:nvPr>
        </p:nvSpPr>
        <p:spPr>
          <a:xfrm>
            <a:off x="725213" y="3178545"/>
            <a:ext cx="726483" cy="584200"/>
          </a:xfrm>
          <a:prstGeom prst="rect">
            <a:avLst/>
          </a:prstGeom>
          <a:solidFill>
            <a:schemeClr val="accent3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84" name="Text Placeholder 9"/>
          <p:cNvSpPr>
            <a:spLocks noGrp="1"/>
          </p:cNvSpPr>
          <p:nvPr>
            <p:ph type="body" sz="quarter" idx="29" hasCustomPrompt="1"/>
          </p:nvPr>
        </p:nvSpPr>
        <p:spPr>
          <a:xfrm>
            <a:off x="1546783" y="4034623"/>
            <a:ext cx="5493794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br>
              <a:rPr lang="en-US"/>
            </a:b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8" name="Picture Placeholder 5"/>
          <p:cNvSpPr>
            <a:spLocks noGrp="1"/>
          </p:cNvSpPr>
          <p:nvPr>
            <p:ph type="pic" sz="quarter" idx="30" hasCustomPrompt="1"/>
          </p:nvPr>
        </p:nvSpPr>
        <p:spPr>
          <a:xfrm>
            <a:off x="725213" y="4022042"/>
            <a:ext cx="726483" cy="584200"/>
          </a:xfrm>
          <a:prstGeom prst="rect">
            <a:avLst/>
          </a:prstGeom>
          <a:solidFill>
            <a:schemeClr val="tx1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93" name="Text Placeholder 9"/>
          <p:cNvSpPr>
            <a:spLocks noGrp="1"/>
          </p:cNvSpPr>
          <p:nvPr>
            <p:ph type="body" sz="quarter" idx="31" hasCustomPrompt="1"/>
          </p:nvPr>
        </p:nvSpPr>
        <p:spPr>
          <a:xfrm>
            <a:off x="1546783" y="4874167"/>
            <a:ext cx="5863010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94" name="Picture Placeholder 5"/>
          <p:cNvSpPr>
            <a:spLocks noGrp="1"/>
          </p:cNvSpPr>
          <p:nvPr>
            <p:ph type="pic" sz="quarter" idx="32" hasCustomPrompt="1"/>
          </p:nvPr>
        </p:nvSpPr>
        <p:spPr>
          <a:xfrm>
            <a:off x="725213" y="4861586"/>
            <a:ext cx="726483" cy="584200"/>
          </a:xfrm>
          <a:prstGeom prst="rect">
            <a:avLst/>
          </a:prstGeom>
          <a:solidFill>
            <a:schemeClr val="tx2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9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9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9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25023453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 Strategy Slide - 6 Numbered Boxes with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08270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31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NUMBERED BOXES WITH TEXT.</a:t>
            </a:r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3044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.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73149" y="19337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841881" y="18508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41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9239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</a:t>
            </a:r>
            <a:endParaRPr lang="en-US"/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692649" y="19337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4461381" y="18508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613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543418" y="23238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55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312149" y="19337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6" name="Oval 55"/>
          <p:cNvSpPr/>
          <p:nvPr userDrawn="1"/>
        </p:nvSpPr>
        <p:spPr>
          <a:xfrm>
            <a:off x="8080881" y="18508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080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13044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</a:t>
            </a:r>
            <a:endParaRPr lang="en-US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1073149" y="41689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23" name="Oval 22"/>
          <p:cNvSpPr/>
          <p:nvPr userDrawn="1"/>
        </p:nvSpPr>
        <p:spPr>
          <a:xfrm>
            <a:off x="841881" y="40860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8418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49239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4692649" y="41689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27" name="Oval 26"/>
          <p:cNvSpPr/>
          <p:nvPr userDrawn="1"/>
        </p:nvSpPr>
        <p:spPr>
          <a:xfrm>
            <a:off x="4461381" y="40860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28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44613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0" hasCustomPrompt="1"/>
          </p:nvPr>
        </p:nvSpPr>
        <p:spPr>
          <a:xfrm>
            <a:off x="8543418" y="4559039"/>
            <a:ext cx="2737494" cy="133376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.</a:t>
            </a:r>
          </a:p>
        </p:txBody>
      </p:sp>
      <p:sp>
        <p:nvSpPr>
          <p:cNvPr id="30" name="Text Placeholder 8"/>
          <p:cNvSpPr>
            <a:spLocks noGrp="1"/>
          </p:cNvSpPr>
          <p:nvPr>
            <p:ph type="body" sz="quarter" idx="31" hasCustomPrompt="1"/>
          </p:nvPr>
        </p:nvSpPr>
        <p:spPr>
          <a:xfrm>
            <a:off x="8312149" y="41689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31" name="Oval 30"/>
          <p:cNvSpPr/>
          <p:nvPr userDrawn="1"/>
        </p:nvSpPr>
        <p:spPr>
          <a:xfrm>
            <a:off x="8080881" y="40860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32" name="Text Placeholder 10"/>
          <p:cNvSpPr>
            <a:spLocks noGrp="1"/>
          </p:cNvSpPr>
          <p:nvPr>
            <p:ph type="body" sz="quarter" idx="32" hasCustomPrompt="1"/>
          </p:nvPr>
        </p:nvSpPr>
        <p:spPr>
          <a:xfrm>
            <a:off x="8080881" y="41935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3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20518162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 Strategy Slide - Intro Text, Bullets and On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7210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548877" y="1568107"/>
            <a:ext cx="4324035" cy="4411663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ONE GRAPH/CHART AND TEXT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7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7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72128398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. Strategy Slide - 2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483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WO GRAPHS/CHART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6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7"/>
            <a:ext cx="5116786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45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6198550" y="1876657"/>
            <a:ext cx="5116786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8549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198550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57317674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. Strategy Slide - 3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7330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1225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GRAPHS/CHART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0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6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4379234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7923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9" name="Chart Placeholder 4"/>
          <p:cNvSpPr>
            <a:spLocks noGrp="1"/>
          </p:cNvSpPr>
          <p:nvPr>
            <p:ph type="chart" sz="quarter" idx="18" hasCustomPrompt="1"/>
          </p:nvPr>
        </p:nvSpPr>
        <p:spPr>
          <a:xfrm>
            <a:off x="8046320" y="1876657"/>
            <a:ext cx="316751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046319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84608296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. Strategy Slide - 6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1317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362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GRAPHS/CHART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0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725214" y="1876658"/>
            <a:ext cx="3167517" cy="16417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6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4379234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9" name="Chart Placeholder 4"/>
          <p:cNvSpPr>
            <a:spLocks noGrp="1"/>
          </p:cNvSpPr>
          <p:nvPr>
            <p:ph type="chart" sz="quarter" idx="18" hasCustomPrompt="1"/>
          </p:nvPr>
        </p:nvSpPr>
        <p:spPr>
          <a:xfrm>
            <a:off x="8046320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8" name="Chart Placeholder 4"/>
          <p:cNvSpPr>
            <a:spLocks noGrp="1"/>
          </p:cNvSpPr>
          <p:nvPr>
            <p:ph type="chart" sz="quarter" idx="21" hasCustomPrompt="1"/>
          </p:nvPr>
        </p:nvSpPr>
        <p:spPr>
          <a:xfrm>
            <a:off x="725214" y="4293286"/>
            <a:ext cx="3167517" cy="1641784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2521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23" hasCustomPrompt="1"/>
          </p:nvPr>
        </p:nvSpPr>
        <p:spPr>
          <a:xfrm>
            <a:off x="4379234" y="429328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7923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2" name="Chart Placeholder 4"/>
          <p:cNvSpPr>
            <a:spLocks noGrp="1"/>
          </p:cNvSpPr>
          <p:nvPr>
            <p:ph type="chart" sz="quarter" idx="25" hasCustomPrompt="1"/>
          </p:nvPr>
        </p:nvSpPr>
        <p:spPr>
          <a:xfrm>
            <a:off x="8046320" y="429328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CHAR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046320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725214" y="3735977"/>
            <a:ext cx="1048862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1290931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. Strategy Slide - Table 9 Rows /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5079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78" imgH="377" progId="TCLayout.ActiveDocument.1">
                  <p:embed/>
                </p:oleObj>
              </mc:Choice>
              <mc:Fallback>
                <p:oleObj name="Diapositiva de think-cell" r:id="rId5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349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ABLE 9 ROWS AND 9 COLUMNS</a:t>
            </a:r>
          </a:p>
        </p:txBody>
      </p:sp>
      <p:graphicFrame>
        <p:nvGraphicFramePr>
          <p:cNvPr id="33" name="Group 3"/>
          <p:cNvGraphicFramePr>
            <a:graphicFrameLocks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72124183"/>
              </p:ext>
            </p:extLst>
          </p:nvPr>
        </p:nvGraphicFramePr>
        <p:xfrm>
          <a:off x="783770" y="1534944"/>
          <a:ext cx="10377812" cy="4317034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16969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08511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3161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1" i="0" u="none" strike="noStrike" kern="1200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98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34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5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36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73813025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. Strategy Slide - Table 4 Rows /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94905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78" imgH="377" progId="TCLayout.ActiveDocument.1">
                  <p:embed/>
                </p:oleObj>
              </mc:Choice>
              <mc:Fallback>
                <p:oleObj name="Diapositiva de think-cell" r:id="rId5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511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ABLE 3 COLUMNS 4 ROWS</a:t>
            </a:r>
          </a:p>
        </p:txBody>
      </p:sp>
      <p:graphicFrame>
        <p:nvGraphicFramePr>
          <p:cNvPr id="34" name="Group 4"/>
          <p:cNvGraphicFramePr>
            <a:graphicFrameLocks noGrp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31913391"/>
              </p:ext>
            </p:extLst>
          </p:nvPr>
        </p:nvGraphicFramePr>
        <p:xfrm>
          <a:off x="954157" y="1584125"/>
          <a:ext cx="10207427" cy="4260849"/>
        </p:xfrm>
        <a:graphic>
          <a:graphicData uri="http://schemas.openxmlformats.org/drawingml/2006/table">
            <a:tbl>
              <a:tblPr/>
              <a:tblGrid>
                <a:gridCol w="11565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169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1942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endParaRPr kumimoji="0" lang="en-US" sz="1100" b="0" i="1" u="none" strike="noStrike" cap="none" normalizeH="0" baseline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</a:endParaRP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71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..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9141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9383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3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889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4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89988" marR="89988" marT="89988" marB="89988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3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62851461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. Strategy Slide - 1 Tab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4502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4" hasCustomPrompt="1"/>
          </p:nvPr>
        </p:nvSpPr>
        <p:spPr>
          <a:xfrm>
            <a:off x="7547605" y="1568107"/>
            <a:ext cx="4325307" cy="441166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2033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ONE TABLE AND TEXT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7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7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76659882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. Strategy Slide - 2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48622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WO TABLE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198549" y="4526969"/>
            <a:ext cx="5116787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  <a:p>
            <a:pPr lvl="0"/>
            <a:endParaRPr lang="en-US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198550" y="1553303"/>
            <a:ext cx="5116786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GRAPH HEADING. UPPERCASE ONLY. GREY. 12PT</a:t>
            </a:r>
          </a:p>
        </p:txBody>
      </p:sp>
      <p:sp>
        <p:nvSpPr>
          <p:cNvPr id="15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725213" y="1876657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6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6198548" y="1876657"/>
            <a:ext cx="5116787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91417943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. Strategy Slide - 3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7247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TABLE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379233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046319" y="4526969"/>
            <a:ext cx="3180581" cy="1298574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lnSpc>
                <a:spcPct val="100000"/>
              </a:lnSpc>
              <a:spcBef>
                <a:spcPts val="0"/>
              </a:spcBef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</a:p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endParaRPr lang="en-US"/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endParaRPr lang="en-US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8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725213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9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4379232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0" name="Table Placeholder 5"/>
          <p:cNvSpPr>
            <a:spLocks noGrp="1"/>
          </p:cNvSpPr>
          <p:nvPr>
            <p:ph type="tbl" sz="quarter" idx="23" hasCustomPrompt="1"/>
          </p:nvPr>
        </p:nvSpPr>
        <p:spPr>
          <a:xfrm>
            <a:off x="8033882" y="1876657"/>
            <a:ext cx="3167519" cy="254843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0765945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 Strategy Slide - 5 Circle Icon/Symbol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2698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cxnSp>
        <p:nvCxnSpPr>
          <p:cNvPr id="92" name="Straight Connector 91"/>
          <p:cNvCxnSpPr/>
          <p:nvPr userDrawn="1"/>
        </p:nvCxnSpPr>
        <p:spPr>
          <a:xfrm>
            <a:off x="2069538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/>
          <p:nvPr userDrawn="1"/>
        </p:nvCxnSpPr>
        <p:spPr>
          <a:xfrm>
            <a:off x="4054400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1750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FIVE CIRCLE ICON/SYMBOLS WITH BULLET POINTS.</a:t>
            </a:r>
          </a:p>
        </p:txBody>
      </p:sp>
      <p:sp>
        <p:nvSpPr>
          <p:cNvPr id="80" name="Oval 79"/>
          <p:cNvSpPr/>
          <p:nvPr userDrawn="1"/>
        </p:nvSpPr>
        <p:spPr>
          <a:xfrm>
            <a:off x="1401475" y="1653167"/>
            <a:ext cx="1341345" cy="1341345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85" name="TextBox 84"/>
          <p:cNvSpPr txBox="1"/>
          <p:nvPr userDrawn="1"/>
        </p:nvSpPr>
        <p:spPr>
          <a:xfrm>
            <a:off x="1636402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1</a:t>
            </a:r>
          </a:p>
        </p:txBody>
      </p:sp>
      <p:pic>
        <p:nvPicPr>
          <p:cNvPr id="86" name="Picture 85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7578" y="2424127"/>
            <a:ext cx="575529" cy="383686"/>
          </a:xfrm>
          <a:prstGeom prst="rect">
            <a:avLst/>
          </a:prstGeom>
        </p:spPr>
      </p:pic>
      <p:sp>
        <p:nvSpPr>
          <p:cNvPr id="10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232815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06" name="Oval 105"/>
          <p:cNvSpPr/>
          <p:nvPr userDrawn="1"/>
        </p:nvSpPr>
        <p:spPr>
          <a:xfrm>
            <a:off x="3386337" y="1653167"/>
            <a:ext cx="1341345" cy="1341345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7" name="TextBox 106"/>
          <p:cNvSpPr txBox="1"/>
          <p:nvPr userDrawn="1"/>
        </p:nvSpPr>
        <p:spPr>
          <a:xfrm>
            <a:off x="3621264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1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217677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99" name="Picture 98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5852" y="2409762"/>
            <a:ext cx="277095" cy="512721"/>
          </a:xfrm>
          <a:prstGeom prst="rect">
            <a:avLst/>
          </a:prstGeom>
        </p:spPr>
      </p:pic>
      <p:cxnSp>
        <p:nvCxnSpPr>
          <p:cNvPr id="112" name="Straight Connector 111"/>
          <p:cNvCxnSpPr/>
          <p:nvPr userDrawn="1"/>
        </p:nvCxnSpPr>
        <p:spPr>
          <a:xfrm>
            <a:off x="6044322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Oval 112"/>
          <p:cNvSpPr/>
          <p:nvPr userDrawn="1"/>
        </p:nvSpPr>
        <p:spPr>
          <a:xfrm>
            <a:off x="5376259" y="1653167"/>
            <a:ext cx="1341345" cy="1341345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4" name="TextBox 113"/>
          <p:cNvSpPr txBox="1"/>
          <p:nvPr userDrawn="1"/>
        </p:nvSpPr>
        <p:spPr>
          <a:xfrm>
            <a:off x="5611186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11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207599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98" name="Picture 97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75509" y="2370311"/>
            <a:ext cx="537625" cy="472590"/>
          </a:xfrm>
          <a:prstGeom prst="rect">
            <a:avLst/>
          </a:prstGeom>
        </p:spPr>
      </p:pic>
      <p:cxnSp>
        <p:nvCxnSpPr>
          <p:cNvPr id="118" name="Straight Connector 117"/>
          <p:cNvCxnSpPr/>
          <p:nvPr userDrawn="1"/>
        </p:nvCxnSpPr>
        <p:spPr>
          <a:xfrm>
            <a:off x="8017846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Oval 118"/>
          <p:cNvSpPr/>
          <p:nvPr userDrawn="1"/>
        </p:nvSpPr>
        <p:spPr>
          <a:xfrm>
            <a:off x="7349783" y="1653167"/>
            <a:ext cx="1341345" cy="1341345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20" name="TextBox 119"/>
          <p:cNvSpPr txBox="1"/>
          <p:nvPr userDrawn="1"/>
        </p:nvSpPr>
        <p:spPr>
          <a:xfrm>
            <a:off x="7584710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4</a:t>
            </a:r>
          </a:p>
        </p:txBody>
      </p:sp>
      <p:sp>
        <p:nvSpPr>
          <p:cNvPr id="122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181123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100" name="Picture 99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1756" y="2406174"/>
            <a:ext cx="432179" cy="410414"/>
          </a:xfrm>
          <a:prstGeom prst="rect">
            <a:avLst/>
          </a:prstGeom>
        </p:spPr>
      </p:pic>
      <p:cxnSp>
        <p:nvCxnSpPr>
          <p:cNvPr id="124" name="Straight Connector 123"/>
          <p:cNvCxnSpPr/>
          <p:nvPr userDrawn="1"/>
        </p:nvCxnSpPr>
        <p:spPr>
          <a:xfrm>
            <a:off x="9988760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Oval 124"/>
          <p:cNvSpPr/>
          <p:nvPr userDrawn="1"/>
        </p:nvSpPr>
        <p:spPr>
          <a:xfrm>
            <a:off x="9320697" y="1653167"/>
            <a:ext cx="1341345" cy="134134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26" name="TextBox 125"/>
          <p:cNvSpPr txBox="1"/>
          <p:nvPr userDrawn="1"/>
        </p:nvSpPr>
        <p:spPr>
          <a:xfrm>
            <a:off x="9555624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5</a:t>
            </a:r>
          </a:p>
        </p:txBody>
      </p:sp>
      <p:sp>
        <p:nvSpPr>
          <p:cNvPr id="12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52037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130" name="Picture 129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0669" y="2430632"/>
            <a:ext cx="596182" cy="340676"/>
          </a:xfrm>
          <a:prstGeom prst="rect">
            <a:avLst/>
          </a:prstGeom>
        </p:spPr>
      </p:pic>
      <p:sp>
        <p:nvSpPr>
          <p:cNvPr id="42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1232815" y="3524598"/>
            <a:ext cx="1672617" cy="396240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PEOPLE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3215559" y="3524598"/>
            <a:ext cx="1672617" cy="396240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PLACE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5208012" y="3524598"/>
            <a:ext cx="1672617" cy="396240"/>
          </a:xfrm>
          <a:prstGeom prst="rect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TIME</a:t>
            </a:r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7176317" y="3524598"/>
            <a:ext cx="1672617" cy="396240"/>
          </a:xfrm>
          <a:prstGeom prst="rect">
            <a:avLst/>
          </a:prstGeo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RESULT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9144622" y="3524598"/>
            <a:ext cx="1672617" cy="396240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FUTURE</a:t>
            </a:r>
          </a:p>
        </p:txBody>
      </p:sp>
      <p:sp>
        <p:nvSpPr>
          <p:cNvPr id="3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78102794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. Strategy Slide - 6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7799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67971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SIX TABLES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79234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046320" y="1553303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2521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79234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046320" y="3969931"/>
            <a:ext cx="3167517" cy="2162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HEADING. UPPERCASE ONLY. GREY. 12P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725214" y="3735977"/>
            <a:ext cx="1048862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able Placeholder 5"/>
          <p:cNvSpPr>
            <a:spLocks noGrp="1"/>
          </p:cNvSpPr>
          <p:nvPr>
            <p:ph type="tbl" sz="quarter" idx="27" hasCustomPrompt="1"/>
          </p:nvPr>
        </p:nvSpPr>
        <p:spPr>
          <a:xfrm>
            <a:off x="725213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5" name="Table Placeholder 5"/>
          <p:cNvSpPr>
            <a:spLocks noGrp="1"/>
          </p:cNvSpPr>
          <p:nvPr>
            <p:ph type="tbl" sz="quarter" idx="28" hasCustomPrompt="1"/>
          </p:nvPr>
        </p:nvSpPr>
        <p:spPr>
          <a:xfrm>
            <a:off x="4379233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6" name="Table Placeholder 5"/>
          <p:cNvSpPr>
            <a:spLocks noGrp="1"/>
          </p:cNvSpPr>
          <p:nvPr>
            <p:ph type="tbl" sz="quarter" idx="29" hasCustomPrompt="1"/>
          </p:nvPr>
        </p:nvSpPr>
        <p:spPr>
          <a:xfrm>
            <a:off x="8046320" y="1876657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7" name="Table Placeholder 5"/>
          <p:cNvSpPr>
            <a:spLocks noGrp="1"/>
          </p:cNvSpPr>
          <p:nvPr>
            <p:ph type="tbl" sz="quarter" idx="30" hasCustomPrompt="1"/>
          </p:nvPr>
        </p:nvSpPr>
        <p:spPr>
          <a:xfrm>
            <a:off x="725213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8" name="Table Placeholder 5"/>
          <p:cNvSpPr>
            <a:spLocks noGrp="1"/>
          </p:cNvSpPr>
          <p:nvPr>
            <p:ph type="tbl" sz="quarter" idx="31" hasCustomPrompt="1"/>
          </p:nvPr>
        </p:nvSpPr>
        <p:spPr>
          <a:xfrm>
            <a:off x="4379233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9" name="Table Placeholder 5"/>
          <p:cNvSpPr>
            <a:spLocks noGrp="1"/>
          </p:cNvSpPr>
          <p:nvPr>
            <p:ph type="tbl" sz="quarter" idx="32" hasCustomPrompt="1"/>
          </p:nvPr>
        </p:nvSpPr>
        <p:spPr>
          <a:xfrm>
            <a:off x="8046320" y="4301805"/>
            <a:ext cx="3167517" cy="16417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63394756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. Strategy Slide - Process Closed Lo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46915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472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PROCESS CLOSED LOOP WITH INTRO TEXT AND BULLETS</a:t>
            </a:r>
          </a:p>
        </p:txBody>
      </p:sp>
      <p:grpSp>
        <p:nvGrpSpPr>
          <p:cNvPr id="33" name="Group 32"/>
          <p:cNvGrpSpPr/>
          <p:nvPr userDrawn="1"/>
        </p:nvGrpSpPr>
        <p:grpSpPr>
          <a:xfrm>
            <a:off x="6152742" y="1530826"/>
            <a:ext cx="5205413" cy="4535487"/>
            <a:chOff x="1905000" y="1773238"/>
            <a:chExt cx="5205413" cy="4535487"/>
          </a:xfrm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34" name="Freeform 33"/>
            <p:cNvSpPr>
              <a:spLocks/>
            </p:cNvSpPr>
            <p:nvPr/>
          </p:nvSpPr>
          <p:spPr bwMode="blackWhite">
            <a:xfrm>
              <a:off x="5729288" y="3216275"/>
              <a:ext cx="1381125" cy="1874838"/>
            </a:xfrm>
            <a:custGeom>
              <a:avLst/>
              <a:gdLst>
                <a:gd name="T0" fmla="*/ 461616 w 852"/>
                <a:gd name="T1" fmla="*/ 1873218 h 1157"/>
                <a:gd name="T2" fmla="*/ 1493670 w 852"/>
                <a:gd name="T3" fmla="*/ 1852152 h 1157"/>
                <a:gd name="T4" fmla="*/ 1172469 w 852"/>
                <a:gd name="T5" fmla="*/ 1672284 h 1157"/>
                <a:gd name="T6" fmla="*/ 1233901 w 852"/>
                <a:gd name="T7" fmla="*/ 1552372 h 1157"/>
                <a:gd name="T8" fmla="*/ 1286557 w 852"/>
                <a:gd name="T9" fmla="*/ 1429219 h 1157"/>
                <a:gd name="T10" fmla="*/ 1330437 w 852"/>
                <a:gd name="T11" fmla="*/ 1302826 h 1157"/>
                <a:gd name="T12" fmla="*/ 1360275 w 852"/>
                <a:gd name="T13" fmla="*/ 1171571 h 1157"/>
                <a:gd name="T14" fmla="*/ 1386603 w 852"/>
                <a:gd name="T15" fmla="*/ 1040316 h 1157"/>
                <a:gd name="T16" fmla="*/ 1400645 w 852"/>
                <a:gd name="T17" fmla="*/ 909061 h 1157"/>
                <a:gd name="T18" fmla="*/ 1405910 w 852"/>
                <a:gd name="T19" fmla="*/ 774566 h 1157"/>
                <a:gd name="T20" fmla="*/ 1400645 w 852"/>
                <a:gd name="T21" fmla="*/ 640070 h 1157"/>
                <a:gd name="T22" fmla="*/ 1384848 w 852"/>
                <a:gd name="T23" fmla="*/ 508815 h 1157"/>
                <a:gd name="T24" fmla="*/ 1360275 w 852"/>
                <a:gd name="T25" fmla="*/ 377560 h 1157"/>
                <a:gd name="T26" fmla="*/ 1326926 w 852"/>
                <a:gd name="T27" fmla="*/ 247926 h 1157"/>
                <a:gd name="T28" fmla="*/ 1281291 w 852"/>
                <a:gd name="T29" fmla="*/ 121532 h 1157"/>
                <a:gd name="T30" fmla="*/ 1230391 w 852"/>
                <a:gd name="T31" fmla="*/ 0 h 1157"/>
                <a:gd name="T32" fmla="*/ 956581 w 852"/>
                <a:gd name="T33" fmla="*/ 479647 h 1157"/>
                <a:gd name="T34" fmla="*/ 365080 w 852"/>
                <a:gd name="T35" fmla="*/ 471545 h 1157"/>
                <a:gd name="T36" fmla="*/ 389653 w 852"/>
                <a:gd name="T37" fmla="*/ 559048 h 1157"/>
                <a:gd name="T38" fmla="*/ 405450 w 852"/>
                <a:gd name="T39" fmla="*/ 651413 h 1157"/>
                <a:gd name="T40" fmla="*/ 412470 w 852"/>
                <a:gd name="T41" fmla="*/ 743777 h 1157"/>
                <a:gd name="T42" fmla="*/ 410715 w 852"/>
                <a:gd name="T43" fmla="*/ 832901 h 1157"/>
                <a:gd name="T44" fmla="*/ 401939 w 852"/>
                <a:gd name="T45" fmla="*/ 925266 h 1157"/>
                <a:gd name="T46" fmla="*/ 380877 w 852"/>
                <a:gd name="T47" fmla="*/ 1016010 h 1157"/>
                <a:gd name="T48" fmla="*/ 356304 w 852"/>
                <a:gd name="T49" fmla="*/ 1106754 h 1157"/>
                <a:gd name="T50" fmla="*/ 317690 w 852"/>
                <a:gd name="T51" fmla="*/ 1189396 h 1157"/>
                <a:gd name="T52" fmla="*/ 0 w 852"/>
                <a:gd name="T53" fmla="*/ 1017630 h 1157"/>
                <a:gd name="T54" fmla="*/ 461616 w 852"/>
                <a:gd name="T55" fmla="*/ 1873218 h 115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852"/>
                <a:gd name="T85" fmla="*/ 0 h 1157"/>
                <a:gd name="T86" fmla="*/ 852 w 852"/>
                <a:gd name="T87" fmla="*/ 1157 h 115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852" h="1157">
                  <a:moveTo>
                    <a:pt x="263" y="1156"/>
                  </a:moveTo>
                  <a:lnTo>
                    <a:pt x="851" y="1143"/>
                  </a:lnTo>
                  <a:lnTo>
                    <a:pt x="668" y="1032"/>
                  </a:lnTo>
                  <a:lnTo>
                    <a:pt x="703" y="958"/>
                  </a:lnTo>
                  <a:lnTo>
                    <a:pt x="733" y="882"/>
                  </a:lnTo>
                  <a:lnTo>
                    <a:pt x="758" y="804"/>
                  </a:lnTo>
                  <a:lnTo>
                    <a:pt x="775" y="723"/>
                  </a:lnTo>
                  <a:lnTo>
                    <a:pt x="790" y="642"/>
                  </a:lnTo>
                  <a:lnTo>
                    <a:pt x="798" y="561"/>
                  </a:lnTo>
                  <a:lnTo>
                    <a:pt x="801" y="478"/>
                  </a:lnTo>
                  <a:lnTo>
                    <a:pt x="798" y="395"/>
                  </a:lnTo>
                  <a:lnTo>
                    <a:pt x="789" y="314"/>
                  </a:lnTo>
                  <a:lnTo>
                    <a:pt x="775" y="233"/>
                  </a:lnTo>
                  <a:lnTo>
                    <a:pt x="756" y="153"/>
                  </a:lnTo>
                  <a:lnTo>
                    <a:pt x="730" y="75"/>
                  </a:lnTo>
                  <a:lnTo>
                    <a:pt x="701" y="0"/>
                  </a:lnTo>
                  <a:lnTo>
                    <a:pt x="545" y="296"/>
                  </a:lnTo>
                  <a:lnTo>
                    <a:pt x="208" y="291"/>
                  </a:lnTo>
                  <a:lnTo>
                    <a:pt x="222" y="345"/>
                  </a:lnTo>
                  <a:lnTo>
                    <a:pt x="231" y="402"/>
                  </a:lnTo>
                  <a:lnTo>
                    <a:pt x="235" y="459"/>
                  </a:lnTo>
                  <a:lnTo>
                    <a:pt x="234" y="514"/>
                  </a:lnTo>
                  <a:lnTo>
                    <a:pt x="229" y="571"/>
                  </a:lnTo>
                  <a:lnTo>
                    <a:pt x="217" y="627"/>
                  </a:lnTo>
                  <a:lnTo>
                    <a:pt x="203" y="683"/>
                  </a:lnTo>
                  <a:lnTo>
                    <a:pt x="181" y="734"/>
                  </a:lnTo>
                  <a:lnTo>
                    <a:pt x="0" y="628"/>
                  </a:lnTo>
                  <a:lnTo>
                    <a:pt x="263" y="1156"/>
                  </a:lnTo>
                </a:path>
              </a:pathLst>
            </a:custGeom>
            <a:solidFill>
              <a:schemeClr val="accent3"/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rgbClr val="FFFFFF"/>
                </a:solidFill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blackWhite">
            <a:xfrm>
              <a:off x="5221288" y="2070100"/>
              <a:ext cx="1797050" cy="1557338"/>
            </a:xfrm>
            <a:custGeom>
              <a:avLst/>
              <a:gdLst>
                <a:gd name="T0" fmla="*/ 2147483647 w 1109"/>
                <a:gd name="T1" fmla="*/ 2147483647 h 962"/>
                <a:gd name="T2" fmla="*/ 2147483647 w 1109"/>
                <a:gd name="T3" fmla="*/ 2147483647 h 962"/>
                <a:gd name="T4" fmla="*/ 2147483647 w 1109"/>
                <a:gd name="T5" fmla="*/ 2147483647 h 962"/>
                <a:gd name="T6" fmla="*/ 2147483647 w 1109"/>
                <a:gd name="T7" fmla="*/ 2147483647 h 962"/>
                <a:gd name="T8" fmla="*/ 2147483647 w 1109"/>
                <a:gd name="T9" fmla="*/ 2147483647 h 962"/>
                <a:gd name="T10" fmla="*/ 2147483647 w 1109"/>
                <a:gd name="T11" fmla="*/ 2147483647 h 962"/>
                <a:gd name="T12" fmla="*/ 2147483647 w 1109"/>
                <a:gd name="T13" fmla="*/ 2147483647 h 962"/>
                <a:gd name="T14" fmla="*/ 2147483647 w 1109"/>
                <a:gd name="T15" fmla="*/ 2147483647 h 962"/>
                <a:gd name="T16" fmla="*/ 2147483647 w 1109"/>
                <a:gd name="T17" fmla="*/ 2147483647 h 962"/>
                <a:gd name="T18" fmla="*/ 2147483647 w 1109"/>
                <a:gd name="T19" fmla="*/ 2147483647 h 962"/>
                <a:gd name="T20" fmla="*/ 2147483647 w 1109"/>
                <a:gd name="T21" fmla="*/ 2147483647 h 962"/>
                <a:gd name="T22" fmla="*/ 2147483647 w 1109"/>
                <a:gd name="T23" fmla="*/ 2147483647 h 962"/>
                <a:gd name="T24" fmla="*/ 2147483647 w 1109"/>
                <a:gd name="T25" fmla="*/ 2147483647 h 962"/>
                <a:gd name="T26" fmla="*/ 2147483647 w 1109"/>
                <a:gd name="T27" fmla="*/ 2147483647 h 962"/>
                <a:gd name="T28" fmla="*/ 2147483647 w 1109"/>
                <a:gd name="T29" fmla="*/ 2147483647 h 962"/>
                <a:gd name="T30" fmla="*/ 2147483647 w 1109"/>
                <a:gd name="T31" fmla="*/ 2147483647 h 962"/>
                <a:gd name="T32" fmla="*/ 2147483647 w 1109"/>
                <a:gd name="T33" fmla="*/ 2147483647 h 962"/>
                <a:gd name="T34" fmla="*/ 2147483647 w 1109"/>
                <a:gd name="T35" fmla="*/ 2147483647 h 962"/>
                <a:gd name="T36" fmla="*/ 2147483647 w 1109"/>
                <a:gd name="T37" fmla="*/ 2147483647 h 962"/>
                <a:gd name="T38" fmla="*/ 0 w 1109"/>
                <a:gd name="T39" fmla="*/ 0 h 962"/>
                <a:gd name="T40" fmla="*/ 2147483647 w 1109"/>
                <a:gd name="T41" fmla="*/ 2147483647 h 962"/>
                <a:gd name="T42" fmla="*/ 2147483647 w 1109"/>
                <a:gd name="T43" fmla="*/ 2147483647 h 962"/>
                <a:gd name="T44" fmla="*/ 2147483647 w 1109"/>
                <a:gd name="T45" fmla="*/ 2147483647 h 962"/>
                <a:gd name="T46" fmla="*/ 2147483647 w 1109"/>
                <a:gd name="T47" fmla="*/ 2147483647 h 962"/>
                <a:gd name="T48" fmla="*/ 2147483647 w 1109"/>
                <a:gd name="T49" fmla="*/ 2147483647 h 962"/>
                <a:gd name="T50" fmla="*/ 2147483647 w 1109"/>
                <a:gd name="T51" fmla="*/ 2147483647 h 962"/>
                <a:gd name="T52" fmla="*/ 2147483647 w 1109"/>
                <a:gd name="T53" fmla="*/ 2147483647 h 962"/>
                <a:gd name="T54" fmla="*/ 2147483647 w 1109"/>
                <a:gd name="T55" fmla="*/ 2147483647 h 962"/>
                <a:gd name="T56" fmla="*/ 2147483647 w 1109"/>
                <a:gd name="T57" fmla="*/ 2147483647 h 962"/>
                <a:gd name="T58" fmla="*/ 2147483647 w 1109"/>
                <a:gd name="T59" fmla="*/ 2147483647 h 962"/>
                <a:gd name="T60" fmla="*/ 2147483647 w 1109"/>
                <a:gd name="T61" fmla="*/ 2147483647 h 9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109"/>
                <a:gd name="T94" fmla="*/ 0 h 962"/>
                <a:gd name="T95" fmla="*/ 1109 w 1109"/>
                <a:gd name="T96" fmla="*/ 962 h 9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109" h="962">
                  <a:moveTo>
                    <a:pt x="246" y="959"/>
                  </a:moveTo>
                  <a:lnTo>
                    <a:pt x="839" y="961"/>
                  </a:lnTo>
                  <a:lnTo>
                    <a:pt x="934" y="786"/>
                  </a:lnTo>
                  <a:lnTo>
                    <a:pt x="1023" y="611"/>
                  </a:lnTo>
                  <a:lnTo>
                    <a:pt x="1108" y="429"/>
                  </a:lnTo>
                  <a:lnTo>
                    <a:pt x="930" y="539"/>
                  </a:lnTo>
                  <a:lnTo>
                    <a:pt x="885" y="471"/>
                  </a:lnTo>
                  <a:lnTo>
                    <a:pt x="837" y="406"/>
                  </a:lnTo>
                  <a:lnTo>
                    <a:pt x="783" y="344"/>
                  </a:lnTo>
                  <a:lnTo>
                    <a:pt x="724" y="287"/>
                  </a:lnTo>
                  <a:lnTo>
                    <a:pt x="663" y="235"/>
                  </a:lnTo>
                  <a:lnTo>
                    <a:pt x="598" y="188"/>
                  </a:lnTo>
                  <a:lnTo>
                    <a:pt x="530" y="145"/>
                  </a:lnTo>
                  <a:lnTo>
                    <a:pt x="460" y="107"/>
                  </a:lnTo>
                  <a:lnTo>
                    <a:pt x="387" y="75"/>
                  </a:lnTo>
                  <a:lnTo>
                    <a:pt x="311" y="48"/>
                  </a:lnTo>
                  <a:lnTo>
                    <a:pt x="236" y="27"/>
                  </a:lnTo>
                  <a:lnTo>
                    <a:pt x="158" y="12"/>
                  </a:lnTo>
                  <a:lnTo>
                    <a:pt x="79" y="2"/>
                  </a:lnTo>
                  <a:lnTo>
                    <a:pt x="0" y="0"/>
                  </a:lnTo>
                  <a:lnTo>
                    <a:pt x="210" y="277"/>
                  </a:lnTo>
                  <a:lnTo>
                    <a:pt x="80" y="601"/>
                  </a:lnTo>
                  <a:lnTo>
                    <a:pt x="134" y="614"/>
                  </a:lnTo>
                  <a:lnTo>
                    <a:pt x="186" y="631"/>
                  </a:lnTo>
                  <a:lnTo>
                    <a:pt x="236" y="654"/>
                  </a:lnTo>
                  <a:lnTo>
                    <a:pt x="283" y="681"/>
                  </a:lnTo>
                  <a:lnTo>
                    <a:pt x="328" y="715"/>
                  </a:lnTo>
                  <a:lnTo>
                    <a:pt x="370" y="752"/>
                  </a:lnTo>
                  <a:lnTo>
                    <a:pt x="408" y="792"/>
                  </a:lnTo>
                  <a:lnTo>
                    <a:pt x="446" y="837"/>
                  </a:lnTo>
                  <a:lnTo>
                    <a:pt x="246" y="959"/>
                  </a:lnTo>
                </a:path>
              </a:pathLst>
            </a:custGeom>
            <a:solidFill>
              <a:schemeClr val="accent3">
                <a:lumMod val="75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rgbClr val="FFFFFF"/>
                </a:solidFill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blackWhite">
            <a:xfrm>
              <a:off x="1905000" y="1773238"/>
              <a:ext cx="3573463" cy="1779587"/>
            </a:xfrm>
            <a:custGeom>
              <a:avLst/>
              <a:gdLst>
                <a:gd name="T0" fmla="*/ 0 w 2206"/>
                <a:gd name="T1" fmla="*/ 2147483647 h 1099"/>
                <a:gd name="T2" fmla="*/ 2147483647 w 2206"/>
                <a:gd name="T3" fmla="*/ 2147483647 h 1099"/>
                <a:gd name="T4" fmla="*/ 2147483647 w 2206"/>
                <a:gd name="T5" fmla="*/ 2147483647 h 1099"/>
                <a:gd name="T6" fmla="*/ 2147483647 w 2206"/>
                <a:gd name="T7" fmla="*/ 2147483647 h 1099"/>
                <a:gd name="T8" fmla="*/ 2147483647 w 2206"/>
                <a:gd name="T9" fmla="*/ 2147483647 h 1099"/>
                <a:gd name="T10" fmla="*/ 2147483647 w 2206"/>
                <a:gd name="T11" fmla="*/ 2147483647 h 1099"/>
                <a:gd name="T12" fmla="*/ 2147483647 w 2206"/>
                <a:gd name="T13" fmla="*/ 2147483647 h 1099"/>
                <a:gd name="T14" fmla="*/ 2147483647 w 2206"/>
                <a:gd name="T15" fmla="*/ 2147483647 h 1099"/>
                <a:gd name="T16" fmla="*/ 2147483647 w 2206"/>
                <a:gd name="T17" fmla="*/ 2147483647 h 1099"/>
                <a:gd name="T18" fmla="*/ 2147483647 w 2206"/>
                <a:gd name="T19" fmla="*/ 2147483647 h 1099"/>
                <a:gd name="T20" fmla="*/ 2147483647 w 2206"/>
                <a:gd name="T21" fmla="*/ 2147483647 h 1099"/>
                <a:gd name="T22" fmla="*/ 2147483647 w 2206"/>
                <a:gd name="T23" fmla="*/ 2147483647 h 1099"/>
                <a:gd name="T24" fmla="*/ 2147483647 w 2206"/>
                <a:gd name="T25" fmla="*/ 2147483647 h 1099"/>
                <a:gd name="T26" fmla="*/ 2147483647 w 2206"/>
                <a:gd name="T27" fmla="*/ 2147483647 h 1099"/>
                <a:gd name="T28" fmla="*/ 2147483647 w 2206"/>
                <a:gd name="T29" fmla="*/ 0 h 1099"/>
                <a:gd name="T30" fmla="*/ 2147483647 w 2206"/>
                <a:gd name="T31" fmla="*/ 2147483647 h 1099"/>
                <a:gd name="T32" fmla="*/ 0 w 2206"/>
                <a:gd name="T33" fmla="*/ 2147483647 h 1099"/>
                <a:gd name="T34" fmla="*/ 0 w 2206"/>
                <a:gd name="T35" fmla="*/ 2147483647 h 109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206"/>
                <a:gd name="T55" fmla="*/ 0 h 1099"/>
                <a:gd name="T56" fmla="*/ 2206 w 2206"/>
                <a:gd name="T57" fmla="*/ 1099 h 109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206" h="1099">
                  <a:moveTo>
                    <a:pt x="0" y="864"/>
                  </a:moveTo>
                  <a:lnTo>
                    <a:pt x="1339" y="864"/>
                  </a:lnTo>
                  <a:lnTo>
                    <a:pt x="1552" y="1098"/>
                  </a:lnTo>
                  <a:lnTo>
                    <a:pt x="1587" y="1045"/>
                  </a:lnTo>
                  <a:lnTo>
                    <a:pt x="1625" y="996"/>
                  </a:lnTo>
                  <a:lnTo>
                    <a:pt x="1666" y="948"/>
                  </a:lnTo>
                  <a:lnTo>
                    <a:pt x="1711" y="906"/>
                  </a:lnTo>
                  <a:lnTo>
                    <a:pt x="1754" y="872"/>
                  </a:lnTo>
                  <a:lnTo>
                    <a:pt x="1800" y="845"/>
                  </a:lnTo>
                  <a:lnTo>
                    <a:pt x="1850" y="822"/>
                  </a:lnTo>
                  <a:lnTo>
                    <a:pt x="1900" y="803"/>
                  </a:lnTo>
                  <a:lnTo>
                    <a:pt x="1953" y="790"/>
                  </a:lnTo>
                  <a:lnTo>
                    <a:pt x="1983" y="1013"/>
                  </a:lnTo>
                  <a:lnTo>
                    <a:pt x="2205" y="471"/>
                  </a:lnTo>
                  <a:lnTo>
                    <a:pt x="1872" y="0"/>
                  </a:lnTo>
                  <a:lnTo>
                    <a:pt x="1873" y="196"/>
                  </a:lnTo>
                  <a:lnTo>
                    <a:pt x="0" y="196"/>
                  </a:lnTo>
                  <a:lnTo>
                    <a:pt x="0" y="864"/>
                  </a:lnTo>
                </a:path>
              </a:pathLst>
            </a:custGeom>
            <a:solidFill>
              <a:schemeClr val="accent3">
                <a:lumMod val="5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rgbClr val="FFFFFF"/>
                </a:solidFill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blackWhite">
            <a:xfrm>
              <a:off x="4867275" y="4592638"/>
              <a:ext cx="1806575" cy="1716087"/>
            </a:xfrm>
            <a:custGeom>
              <a:avLst/>
              <a:gdLst>
                <a:gd name="T0" fmla="*/ 0 w 1115"/>
                <a:gd name="T1" fmla="*/ 857233 h 1059"/>
                <a:gd name="T2" fmla="*/ 489786 w 1115"/>
                <a:gd name="T3" fmla="*/ 1714467 h 1059"/>
                <a:gd name="T4" fmla="*/ 489786 w 1115"/>
                <a:gd name="T5" fmla="*/ 1320690 h 1059"/>
                <a:gd name="T6" fmla="*/ 619693 w 1115"/>
                <a:gd name="T7" fmla="*/ 1309347 h 1059"/>
                <a:gd name="T8" fmla="*/ 753111 w 1115"/>
                <a:gd name="T9" fmla="*/ 1288280 h 1059"/>
                <a:gd name="T10" fmla="*/ 881263 w 1115"/>
                <a:gd name="T11" fmla="*/ 1259112 h 1059"/>
                <a:gd name="T12" fmla="*/ 1005904 w 1115"/>
                <a:gd name="T13" fmla="*/ 1221841 h 1059"/>
                <a:gd name="T14" fmla="*/ 1128789 w 1115"/>
                <a:gd name="T15" fmla="*/ 1176467 h 1059"/>
                <a:gd name="T16" fmla="*/ 1249919 w 1115"/>
                <a:gd name="T17" fmla="*/ 1122992 h 1059"/>
                <a:gd name="T18" fmla="*/ 1365782 w 1115"/>
                <a:gd name="T19" fmla="*/ 1061413 h 1059"/>
                <a:gd name="T20" fmla="*/ 1479890 w 1115"/>
                <a:gd name="T21" fmla="*/ 993353 h 1059"/>
                <a:gd name="T22" fmla="*/ 1581709 w 1115"/>
                <a:gd name="T23" fmla="*/ 913950 h 1059"/>
                <a:gd name="T24" fmla="*/ 1687039 w 1115"/>
                <a:gd name="T25" fmla="*/ 831306 h 1059"/>
                <a:gd name="T26" fmla="*/ 1781836 w 1115"/>
                <a:gd name="T27" fmla="*/ 738938 h 1059"/>
                <a:gd name="T28" fmla="*/ 1874878 w 1115"/>
                <a:gd name="T29" fmla="*/ 640089 h 1059"/>
                <a:gd name="T30" fmla="*/ 1955631 w 1115"/>
                <a:gd name="T31" fmla="*/ 539619 h 1059"/>
                <a:gd name="T32" fmla="*/ 1362271 w 1115"/>
                <a:gd name="T33" fmla="*/ 570408 h 1059"/>
                <a:gd name="T34" fmla="*/ 1093679 w 1115"/>
                <a:gd name="T35" fmla="*/ 58337 h 1059"/>
                <a:gd name="T36" fmla="*/ 1037503 w 1115"/>
                <a:gd name="T37" fmla="*/ 111813 h 1059"/>
                <a:gd name="T38" fmla="*/ 977816 w 1115"/>
                <a:gd name="T39" fmla="*/ 158807 h 1059"/>
                <a:gd name="T40" fmla="*/ 905840 w 1115"/>
                <a:gd name="T41" fmla="*/ 207421 h 1059"/>
                <a:gd name="T42" fmla="*/ 828598 w 1115"/>
                <a:gd name="T43" fmla="*/ 254415 h 1059"/>
                <a:gd name="T44" fmla="*/ 746089 w 1115"/>
                <a:gd name="T45" fmla="*/ 288445 h 1059"/>
                <a:gd name="T46" fmla="*/ 665336 w 1115"/>
                <a:gd name="T47" fmla="*/ 319234 h 1059"/>
                <a:gd name="T48" fmla="*/ 579316 w 1115"/>
                <a:gd name="T49" fmla="*/ 341921 h 1059"/>
                <a:gd name="T50" fmla="*/ 489786 w 1115"/>
                <a:gd name="T51" fmla="*/ 356505 h 1059"/>
                <a:gd name="T52" fmla="*/ 489786 w 1115"/>
                <a:gd name="T53" fmla="*/ 0 h 1059"/>
                <a:gd name="T54" fmla="*/ 0 w 1115"/>
                <a:gd name="T55" fmla="*/ 857233 h 1059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115"/>
                <a:gd name="T85" fmla="*/ 0 h 1059"/>
                <a:gd name="T86" fmla="*/ 1115 w 1115"/>
                <a:gd name="T87" fmla="*/ 1059 h 1059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115" h="1059">
                  <a:moveTo>
                    <a:pt x="0" y="529"/>
                  </a:moveTo>
                  <a:lnTo>
                    <a:pt x="279" y="1058"/>
                  </a:lnTo>
                  <a:lnTo>
                    <a:pt x="279" y="815"/>
                  </a:lnTo>
                  <a:lnTo>
                    <a:pt x="353" y="808"/>
                  </a:lnTo>
                  <a:lnTo>
                    <a:pt x="429" y="795"/>
                  </a:lnTo>
                  <a:lnTo>
                    <a:pt x="502" y="777"/>
                  </a:lnTo>
                  <a:lnTo>
                    <a:pt x="573" y="754"/>
                  </a:lnTo>
                  <a:lnTo>
                    <a:pt x="643" y="726"/>
                  </a:lnTo>
                  <a:lnTo>
                    <a:pt x="712" y="693"/>
                  </a:lnTo>
                  <a:lnTo>
                    <a:pt x="778" y="655"/>
                  </a:lnTo>
                  <a:lnTo>
                    <a:pt x="843" y="613"/>
                  </a:lnTo>
                  <a:lnTo>
                    <a:pt x="901" y="564"/>
                  </a:lnTo>
                  <a:lnTo>
                    <a:pt x="961" y="513"/>
                  </a:lnTo>
                  <a:lnTo>
                    <a:pt x="1015" y="456"/>
                  </a:lnTo>
                  <a:lnTo>
                    <a:pt x="1068" y="395"/>
                  </a:lnTo>
                  <a:lnTo>
                    <a:pt x="1114" y="333"/>
                  </a:lnTo>
                  <a:lnTo>
                    <a:pt x="776" y="352"/>
                  </a:lnTo>
                  <a:lnTo>
                    <a:pt x="623" y="36"/>
                  </a:lnTo>
                  <a:lnTo>
                    <a:pt x="591" y="69"/>
                  </a:lnTo>
                  <a:lnTo>
                    <a:pt x="557" y="98"/>
                  </a:lnTo>
                  <a:lnTo>
                    <a:pt x="516" y="128"/>
                  </a:lnTo>
                  <a:lnTo>
                    <a:pt x="472" y="157"/>
                  </a:lnTo>
                  <a:lnTo>
                    <a:pt x="425" y="178"/>
                  </a:lnTo>
                  <a:lnTo>
                    <a:pt x="379" y="197"/>
                  </a:lnTo>
                  <a:lnTo>
                    <a:pt x="330" y="211"/>
                  </a:lnTo>
                  <a:lnTo>
                    <a:pt x="279" y="220"/>
                  </a:lnTo>
                  <a:lnTo>
                    <a:pt x="279" y="0"/>
                  </a:lnTo>
                  <a:lnTo>
                    <a:pt x="0" y="529"/>
                  </a:ln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rgbClr val="FFFFFF"/>
                </a:solidFill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blackWhite">
            <a:xfrm>
              <a:off x="3294063" y="4378325"/>
              <a:ext cx="1719262" cy="1531938"/>
            </a:xfrm>
            <a:custGeom>
              <a:avLst/>
              <a:gdLst>
                <a:gd name="T0" fmla="*/ 2147483647 w 1061"/>
                <a:gd name="T1" fmla="*/ 0 h 946"/>
                <a:gd name="T2" fmla="*/ 0 w 1061"/>
                <a:gd name="T3" fmla="*/ 2147483647 h 946"/>
                <a:gd name="T4" fmla="*/ 2147483647 w 1061"/>
                <a:gd name="T5" fmla="*/ 2147483647 h 946"/>
                <a:gd name="T6" fmla="*/ 2147483647 w 1061"/>
                <a:gd name="T7" fmla="*/ 2147483647 h 946"/>
                <a:gd name="T8" fmla="*/ 2147483647 w 1061"/>
                <a:gd name="T9" fmla="*/ 2147483647 h 946"/>
                <a:gd name="T10" fmla="*/ 2147483647 w 1061"/>
                <a:gd name="T11" fmla="*/ 2147483647 h 946"/>
                <a:gd name="T12" fmla="*/ 2147483647 w 1061"/>
                <a:gd name="T13" fmla="*/ 2147483647 h 946"/>
                <a:gd name="T14" fmla="*/ 2147483647 w 1061"/>
                <a:gd name="T15" fmla="*/ 2147483647 h 946"/>
                <a:gd name="T16" fmla="*/ 2147483647 w 1061"/>
                <a:gd name="T17" fmla="*/ 2147483647 h 946"/>
                <a:gd name="T18" fmla="*/ 2147483647 w 1061"/>
                <a:gd name="T19" fmla="*/ 2147483647 h 946"/>
                <a:gd name="T20" fmla="*/ 2147483647 w 1061"/>
                <a:gd name="T21" fmla="*/ 2147483647 h 946"/>
                <a:gd name="T22" fmla="*/ 2147483647 w 1061"/>
                <a:gd name="T23" fmla="*/ 2147483647 h 946"/>
                <a:gd name="T24" fmla="*/ 2147483647 w 1061"/>
                <a:gd name="T25" fmla="*/ 2147483647 h 946"/>
                <a:gd name="T26" fmla="*/ 2147483647 w 1061"/>
                <a:gd name="T27" fmla="*/ 2147483647 h 946"/>
                <a:gd name="T28" fmla="*/ 2147483647 w 1061"/>
                <a:gd name="T29" fmla="*/ 2147483647 h 946"/>
                <a:gd name="T30" fmla="*/ 2147483647 w 1061"/>
                <a:gd name="T31" fmla="*/ 2147483647 h 946"/>
                <a:gd name="T32" fmla="*/ 2147483647 w 1061"/>
                <a:gd name="T33" fmla="*/ 2147483647 h 946"/>
                <a:gd name="T34" fmla="*/ 2147483647 w 1061"/>
                <a:gd name="T35" fmla="*/ 2147483647 h 946"/>
                <a:gd name="T36" fmla="*/ 2147483647 w 1061"/>
                <a:gd name="T37" fmla="*/ 2147483647 h 946"/>
                <a:gd name="T38" fmla="*/ 2147483647 w 1061"/>
                <a:gd name="T39" fmla="*/ 2147483647 h 946"/>
                <a:gd name="T40" fmla="*/ 2147483647 w 1061"/>
                <a:gd name="T41" fmla="*/ 2147483647 h 946"/>
                <a:gd name="T42" fmla="*/ 2147483647 w 1061"/>
                <a:gd name="T43" fmla="*/ 2147483647 h 946"/>
                <a:gd name="T44" fmla="*/ 2147483647 w 1061"/>
                <a:gd name="T45" fmla="*/ 2147483647 h 946"/>
                <a:gd name="T46" fmla="*/ 2147483647 w 1061"/>
                <a:gd name="T47" fmla="*/ 2147483647 h 946"/>
                <a:gd name="T48" fmla="*/ 2147483647 w 1061"/>
                <a:gd name="T49" fmla="*/ 2147483647 h 946"/>
                <a:gd name="T50" fmla="*/ 2147483647 w 1061"/>
                <a:gd name="T51" fmla="*/ 0 h 94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061"/>
                <a:gd name="T79" fmla="*/ 0 h 946"/>
                <a:gd name="T80" fmla="*/ 1061 w 1061"/>
                <a:gd name="T81" fmla="*/ 946 h 94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061" h="946">
                  <a:moveTo>
                    <a:pt x="372" y="0"/>
                  </a:moveTo>
                  <a:lnTo>
                    <a:pt x="0" y="477"/>
                  </a:lnTo>
                  <a:lnTo>
                    <a:pt x="207" y="395"/>
                  </a:lnTo>
                  <a:lnTo>
                    <a:pt x="252" y="466"/>
                  </a:lnTo>
                  <a:lnTo>
                    <a:pt x="302" y="531"/>
                  </a:lnTo>
                  <a:lnTo>
                    <a:pt x="354" y="592"/>
                  </a:lnTo>
                  <a:lnTo>
                    <a:pt x="410" y="649"/>
                  </a:lnTo>
                  <a:lnTo>
                    <a:pt x="471" y="703"/>
                  </a:lnTo>
                  <a:lnTo>
                    <a:pt x="535" y="751"/>
                  </a:lnTo>
                  <a:lnTo>
                    <a:pt x="602" y="795"/>
                  </a:lnTo>
                  <a:lnTo>
                    <a:pt x="670" y="833"/>
                  </a:lnTo>
                  <a:lnTo>
                    <a:pt x="745" y="867"/>
                  </a:lnTo>
                  <a:lnTo>
                    <a:pt x="818" y="894"/>
                  </a:lnTo>
                  <a:lnTo>
                    <a:pt x="894" y="917"/>
                  </a:lnTo>
                  <a:lnTo>
                    <a:pt x="970" y="934"/>
                  </a:lnTo>
                  <a:lnTo>
                    <a:pt x="1048" y="945"/>
                  </a:lnTo>
                  <a:lnTo>
                    <a:pt x="896" y="669"/>
                  </a:lnTo>
                  <a:lnTo>
                    <a:pt x="1060" y="347"/>
                  </a:lnTo>
                  <a:lnTo>
                    <a:pt x="1004" y="334"/>
                  </a:lnTo>
                  <a:lnTo>
                    <a:pt x="951" y="315"/>
                  </a:lnTo>
                  <a:lnTo>
                    <a:pt x="898" y="290"/>
                  </a:lnTo>
                  <a:lnTo>
                    <a:pt x="850" y="260"/>
                  </a:lnTo>
                  <a:lnTo>
                    <a:pt x="802" y="223"/>
                  </a:lnTo>
                  <a:lnTo>
                    <a:pt x="761" y="184"/>
                  </a:lnTo>
                  <a:lnTo>
                    <a:pt x="938" y="113"/>
                  </a:lnTo>
                  <a:lnTo>
                    <a:pt x="372" y="0"/>
                  </a:lnTo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rgbClr val="FFFFFF"/>
                </a:solidFill>
              </a:endParaRPr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blackWhite">
            <a:xfrm>
              <a:off x="3134390" y="3065463"/>
              <a:ext cx="1531273" cy="1709737"/>
            </a:xfrm>
            <a:custGeom>
              <a:avLst/>
              <a:gdLst>
                <a:gd name="T0" fmla="*/ 2147483647 w 866"/>
                <a:gd name="T1" fmla="*/ 0 h 1055"/>
                <a:gd name="T2" fmla="*/ 0 w 866"/>
                <a:gd name="T3" fmla="*/ 2147483647 h 1055"/>
                <a:gd name="T4" fmla="*/ 2147483647 w 866"/>
                <a:gd name="T5" fmla="*/ 2147483647 h 1055"/>
                <a:gd name="T6" fmla="*/ 2147483647 w 866"/>
                <a:gd name="T7" fmla="*/ 2147483647 h 1055"/>
                <a:gd name="T8" fmla="*/ 2147483647 w 866"/>
                <a:gd name="T9" fmla="*/ 2147483647 h 1055"/>
                <a:gd name="T10" fmla="*/ 2147483647 w 866"/>
                <a:gd name="T11" fmla="*/ 2147483647 h 1055"/>
                <a:gd name="T12" fmla="*/ 2147483647 w 866"/>
                <a:gd name="T13" fmla="*/ 2147483647 h 1055"/>
                <a:gd name="T14" fmla="*/ 2147483647 w 866"/>
                <a:gd name="T15" fmla="*/ 2147483647 h 1055"/>
                <a:gd name="T16" fmla="*/ 2147483647 w 866"/>
                <a:gd name="T17" fmla="*/ 2147483647 h 1055"/>
                <a:gd name="T18" fmla="*/ 2147483647 w 866"/>
                <a:gd name="T19" fmla="*/ 2147483647 h 1055"/>
                <a:gd name="T20" fmla="*/ 2147483647 w 866"/>
                <a:gd name="T21" fmla="*/ 2147483647 h 1055"/>
                <a:gd name="T22" fmla="*/ 2147483647 w 866"/>
                <a:gd name="T23" fmla="*/ 2147483647 h 1055"/>
                <a:gd name="T24" fmla="*/ 2147483647 w 866"/>
                <a:gd name="T25" fmla="*/ 2147483647 h 1055"/>
                <a:gd name="T26" fmla="*/ 2147483647 w 866"/>
                <a:gd name="T27" fmla="*/ 2147483647 h 1055"/>
                <a:gd name="T28" fmla="*/ 2147483647 w 866"/>
                <a:gd name="T29" fmla="*/ 2147483647 h 1055"/>
                <a:gd name="T30" fmla="*/ 2147483647 w 866"/>
                <a:gd name="T31" fmla="*/ 2147483647 h 1055"/>
                <a:gd name="T32" fmla="*/ 2147483647 w 866"/>
                <a:gd name="T33" fmla="*/ 2147483647 h 1055"/>
                <a:gd name="T34" fmla="*/ 2147483647 w 866"/>
                <a:gd name="T35" fmla="*/ 2147483647 h 1055"/>
                <a:gd name="T36" fmla="*/ 2147483647 w 866"/>
                <a:gd name="T37" fmla="*/ 2147483647 h 1055"/>
                <a:gd name="T38" fmla="*/ 2147483647 w 866"/>
                <a:gd name="T39" fmla="*/ 2147483647 h 1055"/>
                <a:gd name="T40" fmla="*/ 2147483647 w 866"/>
                <a:gd name="T41" fmla="*/ 2147483647 h 1055"/>
                <a:gd name="T42" fmla="*/ 2147483647 w 866"/>
                <a:gd name="T43" fmla="*/ 2147483647 h 1055"/>
                <a:gd name="T44" fmla="*/ 2147483647 w 866"/>
                <a:gd name="T45" fmla="*/ 2147483647 h 1055"/>
                <a:gd name="T46" fmla="*/ 2147483647 w 866"/>
                <a:gd name="T47" fmla="*/ 2147483647 h 1055"/>
                <a:gd name="T48" fmla="*/ 2147483647 w 866"/>
                <a:gd name="T49" fmla="*/ 2147483647 h 1055"/>
                <a:gd name="T50" fmla="*/ 2147483647 w 866"/>
                <a:gd name="T51" fmla="*/ 0 h 105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866"/>
                <a:gd name="T79" fmla="*/ 0 h 1055"/>
                <a:gd name="T80" fmla="*/ 866 w 866"/>
                <a:gd name="T81" fmla="*/ 1055 h 1055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866" h="1055">
                  <a:moveTo>
                    <a:pt x="571" y="0"/>
                  </a:moveTo>
                  <a:lnTo>
                    <a:pt x="0" y="1"/>
                  </a:lnTo>
                  <a:lnTo>
                    <a:pt x="178" y="111"/>
                  </a:lnTo>
                  <a:lnTo>
                    <a:pt x="153" y="187"/>
                  </a:lnTo>
                  <a:lnTo>
                    <a:pt x="130" y="264"/>
                  </a:lnTo>
                  <a:lnTo>
                    <a:pt x="113" y="343"/>
                  </a:lnTo>
                  <a:lnTo>
                    <a:pt x="100" y="423"/>
                  </a:lnTo>
                  <a:lnTo>
                    <a:pt x="94" y="504"/>
                  </a:lnTo>
                  <a:lnTo>
                    <a:pt x="93" y="583"/>
                  </a:lnTo>
                  <a:lnTo>
                    <a:pt x="95" y="664"/>
                  </a:lnTo>
                  <a:lnTo>
                    <a:pt x="104" y="744"/>
                  </a:lnTo>
                  <a:lnTo>
                    <a:pt x="118" y="824"/>
                  </a:lnTo>
                  <a:lnTo>
                    <a:pt x="136" y="903"/>
                  </a:lnTo>
                  <a:lnTo>
                    <a:pt x="159" y="979"/>
                  </a:lnTo>
                  <a:lnTo>
                    <a:pt x="189" y="1054"/>
                  </a:lnTo>
                  <a:lnTo>
                    <a:pt x="412" y="766"/>
                  </a:lnTo>
                  <a:lnTo>
                    <a:pt x="702" y="816"/>
                  </a:lnTo>
                  <a:lnTo>
                    <a:pt x="681" y="760"/>
                  </a:lnTo>
                  <a:lnTo>
                    <a:pt x="666" y="705"/>
                  </a:lnTo>
                  <a:lnTo>
                    <a:pt x="658" y="647"/>
                  </a:lnTo>
                  <a:lnTo>
                    <a:pt x="652" y="588"/>
                  </a:lnTo>
                  <a:lnTo>
                    <a:pt x="652" y="529"/>
                  </a:lnTo>
                  <a:lnTo>
                    <a:pt x="660" y="470"/>
                  </a:lnTo>
                  <a:lnTo>
                    <a:pt x="672" y="413"/>
                  </a:lnTo>
                  <a:lnTo>
                    <a:pt x="865" y="531"/>
                  </a:lnTo>
                  <a:lnTo>
                    <a:pt x="571" y="0"/>
                  </a:lnTo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eaLnBrk="1">
                <a:defRPr/>
              </a:pPr>
              <a:endParaRPr lang="en-US" sz="1400">
                <a:solidFill>
                  <a:srgbClr val="FFFFFF"/>
                </a:solidFill>
              </a:endParaRPr>
            </a:p>
          </p:txBody>
        </p:sp>
        <p:sp>
          <p:nvSpPr>
            <p:cNvPr id="41" name="Rectangle 40"/>
            <p:cNvSpPr>
              <a:spLocks noChangeArrowheads="1"/>
            </p:cNvSpPr>
            <p:nvPr/>
          </p:nvSpPr>
          <p:spPr bwMode="blackWhite">
            <a:xfrm>
              <a:off x="2898547" y="2538471"/>
              <a:ext cx="1413336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rgbClr val="3E3838"/>
                </a:buClr>
                <a:buFont typeface="Wingdings 2" pitchFamily="18" charset="2"/>
                <a:buNone/>
                <a:defRPr/>
              </a:pPr>
              <a:r>
                <a:rPr lang="en-US" sz="1400">
                  <a:solidFill>
                    <a:srgbClr val="FFFFFF"/>
                  </a:solidFill>
                </a:rPr>
                <a:t>Text. White. 14PT</a:t>
              </a:r>
            </a:p>
          </p:txBody>
        </p:sp>
        <p:sp>
          <p:nvSpPr>
            <p:cNvPr id="42" name="Rectangle 41"/>
            <p:cNvSpPr>
              <a:spLocks noChangeArrowheads="1"/>
            </p:cNvSpPr>
            <p:nvPr/>
          </p:nvSpPr>
          <p:spPr bwMode="blackWhite">
            <a:xfrm>
              <a:off x="5890738" y="2805171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rgbClr val="3E3838"/>
                </a:buClr>
                <a:buFont typeface="Wingdings 2" pitchFamily="18" charset="2"/>
                <a:buNone/>
                <a:defRPr/>
              </a:pPr>
              <a:r>
                <a:rPr lang="en-US" sz="1400">
                  <a:solidFill>
                    <a:srgbClr val="FFFFFF"/>
                  </a:solidFill>
                </a:rPr>
                <a:t>Text</a:t>
              </a:r>
            </a:p>
          </p:txBody>
        </p:sp>
        <p:sp>
          <p:nvSpPr>
            <p:cNvPr id="43" name="Rectangle 42"/>
            <p:cNvSpPr>
              <a:spLocks noChangeArrowheads="1"/>
            </p:cNvSpPr>
            <p:nvPr/>
          </p:nvSpPr>
          <p:spPr bwMode="blackWhite">
            <a:xfrm>
              <a:off x="6370162" y="4146609"/>
              <a:ext cx="327975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rgbClr val="3E3838"/>
                </a:buClr>
                <a:buFont typeface="Wingdings 2" pitchFamily="18" charset="2"/>
                <a:buNone/>
                <a:defRPr/>
              </a:pPr>
              <a:r>
                <a:rPr lang="en-US" sz="1400">
                  <a:solidFill>
                    <a:srgbClr val="FFFFFF"/>
                  </a:solidFill>
                </a:rPr>
                <a:t>Text</a:t>
              </a:r>
            </a:p>
          </p:txBody>
        </p:sp>
        <p:sp>
          <p:nvSpPr>
            <p:cNvPr id="44" name="Rectangle 43"/>
            <p:cNvSpPr>
              <a:spLocks noChangeArrowheads="1"/>
            </p:cNvSpPr>
            <p:nvPr/>
          </p:nvSpPr>
          <p:spPr bwMode="blackWhite">
            <a:xfrm>
              <a:off x="5501800" y="5259446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rgbClr val="3E3838"/>
                </a:buClr>
                <a:buFont typeface="Wingdings 2" pitchFamily="18" charset="2"/>
                <a:buNone/>
                <a:defRPr/>
              </a:pPr>
              <a:r>
                <a:rPr lang="en-US" sz="1400">
                  <a:solidFill>
                    <a:srgbClr val="FFFFFF"/>
                  </a:solidFill>
                </a:rPr>
                <a:t>Text</a:t>
              </a:r>
            </a:p>
          </p:txBody>
        </p:sp>
        <p:sp>
          <p:nvSpPr>
            <p:cNvPr id="45" name="Rectangle 44"/>
            <p:cNvSpPr>
              <a:spLocks noChangeArrowheads="1"/>
            </p:cNvSpPr>
            <p:nvPr/>
          </p:nvSpPr>
          <p:spPr bwMode="blackWhite">
            <a:xfrm>
              <a:off x="4166713" y="4962584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rgbClr val="3E3838"/>
                </a:buClr>
                <a:buFont typeface="Wingdings 2" pitchFamily="18" charset="2"/>
                <a:buNone/>
                <a:defRPr/>
              </a:pPr>
              <a:r>
                <a:rPr lang="en-US" sz="1400">
                  <a:solidFill>
                    <a:srgbClr val="FFFFFF"/>
                  </a:solidFill>
                </a:rPr>
                <a:t>Text</a:t>
              </a:r>
            </a:p>
          </p:txBody>
        </p:sp>
        <p:sp>
          <p:nvSpPr>
            <p:cNvPr id="46" name="Rectangle 45"/>
            <p:cNvSpPr>
              <a:spLocks noChangeArrowheads="1"/>
            </p:cNvSpPr>
            <p:nvPr/>
          </p:nvSpPr>
          <p:spPr bwMode="blackWhite">
            <a:xfrm>
              <a:off x="3627624" y="3692584"/>
              <a:ext cx="327974" cy="20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787400">
                <a:lnSpc>
                  <a:spcPct val="95000"/>
                </a:lnSpc>
                <a:spcBef>
                  <a:spcPct val="80000"/>
                </a:spcBef>
                <a:buClr>
                  <a:srgbClr val="3E3838"/>
                </a:buClr>
                <a:buFont typeface="Wingdings 2" pitchFamily="18" charset="2"/>
                <a:buNone/>
                <a:defRPr/>
              </a:pPr>
              <a:r>
                <a:rPr lang="en-US" sz="1400">
                  <a:solidFill>
                    <a:srgbClr val="FFFFFF"/>
                  </a:solidFill>
                </a:rPr>
                <a:t>Text</a:t>
              </a:r>
            </a:p>
          </p:txBody>
        </p:sp>
      </p:grpSp>
      <p:sp>
        <p:nvSpPr>
          <p:cNvPr id="47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48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9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5116786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Slide designed to be used when you only have a small intro paragraph and bullet points. 18PT</a:t>
            </a:r>
          </a:p>
        </p:txBody>
      </p:sp>
      <p:sp>
        <p:nvSpPr>
          <p:cNvPr id="55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5116786" cy="364692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67668942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. Strategy Slide - Process Closed Loop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6438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7061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PROCESS CLOSED LOOP WITH LARGE TEXT</a:t>
            </a:r>
          </a:p>
        </p:txBody>
      </p:sp>
      <p:sp>
        <p:nvSpPr>
          <p:cNvPr id="47" name="Arc 3"/>
          <p:cNvSpPr>
            <a:spLocks/>
          </p:cNvSpPr>
          <p:nvPr userDrawn="1"/>
        </p:nvSpPr>
        <p:spPr bwMode="auto">
          <a:xfrm>
            <a:off x="8555775" y="1924512"/>
            <a:ext cx="2043112" cy="1801812"/>
          </a:xfrm>
          <a:custGeom>
            <a:avLst/>
            <a:gdLst>
              <a:gd name="T0" fmla="*/ 0 w 19173"/>
              <a:gd name="T1" fmla="*/ 0 h 21600"/>
              <a:gd name="T2" fmla="*/ 2147483647 w 19173"/>
              <a:gd name="T3" fmla="*/ 2147483647 h 21600"/>
              <a:gd name="T4" fmla="*/ 0 w 19173"/>
              <a:gd name="T5" fmla="*/ 2147483647 h 21600"/>
              <a:gd name="T6" fmla="*/ 0 60000 65536"/>
              <a:gd name="T7" fmla="*/ 0 60000 65536"/>
              <a:gd name="T8" fmla="*/ 0 60000 65536"/>
              <a:gd name="T9" fmla="*/ 0 w 19173"/>
              <a:gd name="T10" fmla="*/ 0 h 21600"/>
              <a:gd name="T11" fmla="*/ 19173 w 19173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173" h="21600" fill="none" extrusionOk="0">
                <a:moveTo>
                  <a:pt x="-1" y="0"/>
                </a:moveTo>
                <a:cubicBezTo>
                  <a:pt x="8064" y="0"/>
                  <a:pt x="15457" y="4492"/>
                  <a:pt x="19172" y="11651"/>
                </a:cubicBezTo>
              </a:path>
              <a:path w="19173" h="21600" stroke="0" extrusionOk="0">
                <a:moveTo>
                  <a:pt x="-1" y="0"/>
                </a:moveTo>
                <a:cubicBezTo>
                  <a:pt x="8064" y="0"/>
                  <a:pt x="15457" y="4492"/>
                  <a:pt x="19172" y="11651"/>
                </a:cubicBezTo>
                <a:lnTo>
                  <a:pt x="0" y="21600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48" name="Arc 4"/>
          <p:cNvSpPr>
            <a:spLocks/>
          </p:cNvSpPr>
          <p:nvPr userDrawn="1"/>
        </p:nvSpPr>
        <p:spPr bwMode="auto">
          <a:xfrm flipV="1">
            <a:off x="8555775" y="3803958"/>
            <a:ext cx="2301875" cy="969963"/>
          </a:xfrm>
          <a:custGeom>
            <a:avLst/>
            <a:gdLst>
              <a:gd name="T0" fmla="*/ 2147483647 w 21600"/>
              <a:gd name="T1" fmla="*/ 0 h 11619"/>
              <a:gd name="T2" fmla="*/ 2147483647 w 21600"/>
              <a:gd name="T3" fmla="*/ 2147483647 h 11619"/>
              <a:gd name="T4" fmla="*/ 0 w 21600"/>
              <a:gd name="T5" fmla="*/ 2147483647 h 11619"/>
              <a:gd name="T6" fmla="*/ 0 60000 65536"/>
              <a:gd name="T7" fmla="*/ 0 60000 65536"/>
              <a:gd name="T8" fmla="*/ 0 60000 65536"/>
              <a:gd name="T9" fmla="*/ 0 w 21600"/>
              <a:gd name="T10" fmla="*/ 0 h 11619"/>
              <a:gd name="T11" fmla="*/ 21600 w 21600"/>
              <a:gd name="T12" fmla="*/ 11619 h 1161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11619" fill="none" extrusionOk="0">
                <a:moveTo>
                  <a:pt x="18208" y="0"/>
                </a:moveTo>
                <a:cubicBezTo>
                  <a:pt x="20423" y="3470"/>
                  <a:pt x="21600" y="7501"/>
                  <a:pt x="21600" y="11619"/>
                </a:cubicBezTo>
              </a:path>
              <a:path w="21600" h="11619" stroke="0" extrusionOk="0">
                <a:moveTo>
                  <a:pt x="18208" y="0"/>
                </a:moveTo>
                <a:cubicBezTo>
                  <a:pt x="20423" y="3470"/>
                  <a:pt x="21600" y="7501"/>
                  <a:pt x="21600" y="11619"/>
                </a:cubicBezTo>
                <a:lnTo>
                  <a:pt x="0" y="11619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rot="10800000"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49" name="Arc 5"/>
          <p:cNvSpPr>
            <a:spLocks/>
          </p:cNvSpPr>
          <p:nvPr userDrawn="1"/>
        </p:nvSpPr>
        <p:spPr bwMode="auto">
          <a:xfrm rot="183362" flipV="1">
            <a:off x="8248650" y="3884613"/>
            <a:ext cx="1851025" cy="1801813"/>
          </a:xfrm>
          <a:custGeom>
            <a:avLst/>
            <a:gdLst>
              <a:gd name="T0" fmla="*/ 0 w 17368"/>
              <a:gd name="T1" fmla="*/ 2147483647 h 21600"/>
              <a:gd name="T2" fmla="*/ 2147483647 w 17368"/>
              <a:gd name="T3" fmla="*/ 2147483647 h 21600"/>
              <a:gd name="T4" fmla="*/ 2147483647 w 17368"/>
              <a:gd name="T5" fmla="*/ 2147483647 h 21600"/>
              <a:gd name="T6" fmla="*/ 0 60000 65536"/>
              <a:gd name="T7" fmla="*/ 0 60000 65536"/>
              <a:gd name="T8" fmla="*/ 0 60000 65536"/>
              <a:gd name="T9" fmla="*/ 0 w 17368"/>
              <a:gd name="T10" fmla="*/ 0 h 21600"/>
              <a:gd name="T11" fmla="*/ 17368 w 17368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7368" h="21600" fill="none" extrusionOk="0">
                <a:moveTo>
                  <a:pt x="0" y="189"/>
                </a:moveTo>
                <a:cubicBezTo>
                  <a:pt x="945" y="63"/>
                  <a:pt x="1898" y="-1"/>
                  <a:pt x="2852" y="0"/>
                </a:cubicBezTo>
                <a:cubicBezTo>
                  <a:pt x="8218" y="0"/>
                  <a:pt x="13393" y="1998"/>
                  <a:pt x="17368" y="5604"/>
                </a:cubicBezTo>
              </a:path>
              <a:path w="17368" h="21600" stroke="0" extrusionOk="0">
                <a:moveTo>
                  <a:pt x="0" y="189"/>
                </a:moveTo>
                <a:cubicBezTo>
                  <a:pt x="945" y="63"/>
                  <a:pt x="1898" y="-1"/>
                  <a:pt x="2852" y="0"/>
                </a:cubicBezTo>
                <a:cubicBezTo>
                  <a:pt x="8218" y="0"/>
                  <a:pt x="13393" y="1998"/>
                  <a:pt x="17368" y="5604"/>
                </a:cubicBezTo>
                <a:lnTo>
                  <a:pt x="2852" y="21600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rot="10800000"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54" name="Arc 6"/>
          <p:cNvSpPr>
            <a:spLocks/>
          </p:cNvSpPr>
          <p:nvPr userDrawn="1"/>
        </p:nvSpPr>
        <p:spPr bwMode="auto">
          <a:xfrm flipH="1" flipV="1">
            <a:off x="6312637" y="3726324"/>
            <a:ext cx="2244725" cy="1592263"/>
          </a:xfrm>
          <a:custGeom>
            <a:avLst/>
            <a:gdLst>
              <a:gd name="T0" fmla="*/ 2147483647 w 21027"/>
              <a:gd name="T1" fmla="*/ 0 h 19082"/>
              <a:gd name="T2" fmla="*/ 2147483647 w 21027"/>
              <a:gd name="T3" fmla="*/ 2147483647 h 19082"/>
              <a:gd name="T4" fmla="*/ 0 w 21027"/>
              <a:gd name="T5" fmla="*/ 2147483647 h 19082"/>
              <a:gd name="T6" fmla="*/ 0 60000 65536"/>
              <a:gd name="T7" fmla="*/ 0 60000 65536"/>
              <a:gd name="T8" fmla="*/ 0 60000 65536"/>
              <a:gd name="T9" fmla="*/ 0 w 21027"/>
              <a:gd name="T10" fmla="*/ 0 h 19082"/>
              <a:gd name="T11" fmla="*/ 21027 w 21027"/>
              <a:gd name="T12" fmla="*/ 19082 h 1908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027" h="19082" fill="none" extrusionOk="0">
                <a:moveTo>
                  <a:pt x="10121" y="0"/>
                </a:moveTo>
                <a:cubicBezTo>
                  <a:pt x="15625" y="2919"/>
                  <a:pt x="19601" y="8073"/>
                  <a:pt x="21026" y="14139"/>
                </a:cubicBezTo>
              </a:path>
              <a:path w="21027" h="19082" stroke="0" extrusionOk="0">
                <a:moveTo>
                  <a:pt x="10121" y="0"/>
                </a:moveTo>
                <a:cubicBezTo>
                  <a:pt x="15625" y="2919"/>
                  <a:pt x="19601" y="8073"/>
                  <a:pt x="21026" y="14139"/>
                </a:cubicBezTo>
                <a:lnTo>
                  <a:pt x="0" y="19082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 rot="10800000"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55" name="Arc 7"/>
          <p:cNvSpPr>
            <a:spLocks/>
          </p:cNvSpPr>
          <p:nvPr userDrawn="1"/>
        </p:nvSpPr>
        <p:spPr bwMode="auto">
          <a:xfrm flipH="1">
            <a:off x="6279300" y="2067387"/>
            <a:ext cx="2278062" cy="1658937"/>
          </a:xfrm>
          <a:custGeom>
            <a:avLst/>
            <a:gdLst>
              <a:gd name="T0" fmla="*/ 2147483647 w 21347"/>
              <a:gd name="T1" fmla="*/ 0 h 19905"/>
              <a:gd name="T2" fmla="*/ 2147483647 w 21347"/>
              <a:gd name="T3" fmla="*/ 2147483647 h 19905"/>
              <a:gd name="T4" fmla="*/ 0 w 21347"/>
              <a:gd name="T5" fmla="*/ 2147483647 h 19905"/>
              <a:gd name="T6" fmla="*/ 0 60000 65536"/>
              <a:gd name="T7" fmla="*/ 0 60000 65536"/>
              <a:gd name="T8" fmla="*/ 0 60000 65536"/>
              <a:gd name="T9" fmla="*/ 0 w 21347"/>
              <a:gd name="T10" fmla="*/ 0 h 19905"/>
              <a:gd name="T11" fmla="*/ 21347 w 21347"/>
              <a:gd name="T12" fmla="*/ 19905 h 1990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347" h="19905" fill="none" extrusionOk="0">
                <a:moveTo>
                  <a:pt x="8386" y="-1"/>
                </a:moveTo>
                <a:cubicBezTo>
                  <a:pt x="15295" y="2910"/>
                  <a:pt x="20201" y="9196"/>
                  <a:pt x="21346" y="16606"/>
                </a:cubicBezTo>
              </a:path>
              <a:path w="21347" h="19905" stroke="0" extrusionOk="0">
                <a:moveTo>
                  <a:pt x="8386" y="-1"/>
                </a:moveTo>
                <a:cubicBezTo>
                  <a:pt x="15295" y="2910"/>
                  <a:pt x="20201" y="9196"/>
                  <a:pt x="21346" y="16606"/>
                </a:cubicBezTo>
                <a:lnTo>
                  <a:pt x="0" y="19905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wrap="none" lIns="36000" tIns="36000" rIns="36000" bIns="36000" anchor="ctr"/>
          <a:lstStyle/>
          <a:p>
            <a:pPr algn="ctr" eaLnBrk="1">
              <a:defRPr/>
            </a:pPr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75" name="Oval 8"/>
          <p:cNvSpPr>
            <a:spLocks noChangeArrowheads="1"/>
          </p:cNvSpPr>
          <p:nvPr userDrawn="1"/>
        </p:nvSpPr>
        <p:spPr bwMode="auto">
          <a:xfrm>
            <a:off x="9048888" y="4635962"/>
            <a:ext cx="1743075" cy="1238250"/>
          </a:xfrm>
          <a:prstGeom prst="ellipse">
            <a:avLst/>
          </a:prstGeom>
          <a:solidFill>
            <a:schemeClr val="accent3"/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>
                <a:solidFill>
                  <a:srgbClr val="FFFFFF"/>
                </a:solidFill>
                <a:ea typeface="ＭＳ Ｐゴシック" pitchFamily="50" charset="-128"/>
              </a:rPr>
              <a:t>Text. White. 12PT</a:t>
            </a:r>
          </a:p>
        </p:txBody>
      </p:sp>
      <p:sp>
        <p:nvSpPr>
          <p:cNvPr id="76" name="Oval 9"/>
          <p:cNvSpPr>
            <a:spLocks noChangeArrowheads="1"/>
          </p:cNvSpPr>
          <p:nvPr userDrawn="1"/>
        </p:nvSpPr>
        <p:spPr bwMode="auto">
          <a:xfrm>
            <a:off x="5612550" y="2894474"/>
            <a:ext cx="1738312" cy="1235075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>
                <a:solidFill>
                  <a:srgbClr val="FFFFFF"/>
                </a:solidFill>
                <a:ea typeface="ＭＳ Ｐゴシック" pitchFamily="50" charset="-128"/>
              </a:rPr>
              <a:t>Text. White. 12PT</a:t>
            </a:r>
          </a:p>
        </p:txBody>
      </p:sp>
      <p:sp>
        <p:nvSpPr>
          <p:cNvPr id="77" name="Oval 10"/>
          <p:cNvSpPr>
            <a:spLocks noChangeArrowheads="1"/>
          </p:cNvSpPr>
          <p:nvPr userDrawn="1"/>
        </p:nvSpPr>
        <p:spPr bwMode="auto">
          <a:xfrm>
            <a:off x="6571400" y="4635962"/>
            <a:ext cx="1738312" cy="123825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>
                <a:solidFill>
                  <a:srgbClr val="FFFFFF"/>
                </a:solidFill>
                <a:ea typeface="ＭＳ Ｐゴシック" pitchFamily="50" charset="-128"/>
              </a:rPr>
              <a:t>Text. White. 12PT</a:t>
            </a:r>
          </a:p>
        </p:txBody>
      </p:sp>
      <p:sp>
        <p:nvSpPr>
          <p:cNvPr id="78" name="Oval 11"/>
          <p:cNvSpPr>
            <a:spLocks noChangeArrowheads="1"/>
          </p:cNvSpPr>
          <p:nvPr userDrawn="1"/>
        </p:nvSpPr>
        <p:spPr bwMode="auto">
          <a:xfrm>
            <a:off x="9835300" y="2894474"/>
            <a:ext cx="1744662" cy="1235075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>
                <a:solidFill>
                  <a:srgbClr val="FFFFFF"/>
                </a:solidFill>
                <a:ea typeface="ＭＳ Ｐゴシック" pitchFamily="50" charset="-128"/>
              </a:rPr>
              <a:t>Text. White. 12PT</a:t>
            </a:r>
          </a:p>
        </p:txBody>
      </p:sp>
      <p:sp>
        <p:nvSpPr>
          <p:cNvPr id="79" name="Oval 12"/>
          <p:cNvSpPr>
            <a:spLocks noChangeArrowheads="1"/>
          </p:cNvSpPr>
          <p:nvPr userDrawn="1"/>
        </p:nvSpPr>
        <p:spPr bwMode="auto">
          <a:xfrm>
            <a:off x="7684237" y="1438737"/>
            <a:ext cx="1739900" cy="11890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>
              <a:lnSpc>
                <a:spcPct val="95000"/>
              </a:lnSpc>
              <a:defRPr/>
            </a:pPr>
            <a:r>
              <a:rPr lang="en-US" sz="1400">
                <a:solidFill>
                  <a:srgbClr val="FFFFFF"/>
                </a:solidFill>
                <a:ea typeface="ＭＳ Ｐゴシック" pitchFamily="50" charset="-128"/>
              </a:rPr>
              <a:t>Text. White. 12PT</a:t>
            </a:r>
          </a:p>
        </p:txBody>
      </p:sp>
      <p:sp>
        <p:nvSpPr>
          <p:cNvPr id="80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81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82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5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4727325" cy="39059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s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70176897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. Strategy Slide - Direct Reports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6653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0248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DIRECT REPORTS ORG CHART.</a:t>
            </a:r>
          </a:p>
        </p:txBody>
      </p:sp>
      <p:sp>
        <p:nvSpPr>
          <p:cNvPr id="125" name="Rectangle 124"/>
          <p:cNvSpPr/>
          <p:nvPr/>
        </p:nvSpPr>
        <p:spPr>
          <a:xfrm>
            <a:off x="5428481" y="1565718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600">
              <a:solidFill>
                <a:srgbClr val="FFFFFF"/>
              </a:solidFill>
            </a:endParaRPr>
          </a:p>
        </p:txBody>
      </p:sp>
      <p:cxnSp>
        <p:nvCxnSpPr>
          <p:cNvPr id="81" name="Straight Connector 80"/>
          <p:cNvCxnSpPr/>
          <p:nvPr/>
        </p:nvCxnSpPr>
        <p:spPr>
          <a:xfrm>
            <a:off x="1088796" y="3433191"/>
            <a:ext cx="8490978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/>
        </p:nvCxnSpPr>
        <p:spPr>
          <a:xfrm>
            <a:off x="9579775" y="3433191"/>
            <a:ext cx="1481343" cy="0"/>
          </a:xfrm>
          <a:prstGeom prst="line">
            <a:avLst/>
          </a:prstGeom>
          <a:ln w="6350">
            <a:solidFill>
              <a:schemeClr val="tx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/>
          <p:cNvCxnSpPr/>
          <p:nvPr/>
        </p:nvCxnSpPr>
        <p:spPr>
          <a:xfrm>
            <a:off x="9582047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/>
          <p:cNvCxnSpPr/>
          <p:nvPr/>
        </p:nvCxnSpPr>
        <p:spPr>
          <a:xfrm>
            <a:off x="11061118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/>
          <p:cNvCxnSpPr/>
          <p:nvPr/>
        </p:nvCxnSpPr>
        <p:spPr>
          <a:xfrm>
            <a:off x="5302440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/>
        </p:nvCxnSpPr>
        <p:spPr>
          <a:xfrm>
            <a:off x="3925703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/>
        </p:nvCxnSpPr>
        <p:spPr>
          <a:xfrm>
            <a:off x="2513310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/>
        </p:nvCxnSpPr>
        <p:spPr>
          <a:xfrm>
            <a:off x="1088796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142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43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5519781" y="1674479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519781" y="2691366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44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19781" y="2856097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cxnSp>
        <p:nvCxnSpPr>
          <p:cNvPr id="145" name="Straight Connector 144"/>
          <p:cNvCxnSpPr/>
          <p:nvPr/>
        </p:nvCxnSpPr>
        <p:spPr>
          <a:xfrm>
            <a:off x="6057406" y="3086187"/>
            <a:ext cx="0" cy="343134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/>
          <p:cNvCxnSpPr/>
          <p:nvPr/>
        </p:nvCxnSpPr>
        <p:spPr>
          <a:xfrm>
            <a:off x="6760791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/>
          <p:cNvCxnSpPr/>
          <p:nvPr/>
        </p:nvCxnSpPr>
        <p:spPr>
          <a:xfrm>
            <a:off x="8153492" y="3433190"/>
            <a:ext cx="0" cy="23867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tangle 150"/>
          <p:cNvSpPr/>
          <p:nvPr userDrawn="1"/>
        </p:nvSpPr>
        <p:spPr>
          <a:xfrm>
            <a:off x="432838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600">
              <a:solidFill>
                <a:srgbClr val="FFFFFF"/>
              </a:solidFill>
            </a:endParaRPr>
          </a:p>
        </p:txBody>
      </p:sp>
      <p:sp>
        <p:nvSpPr>
          <p:cNvPr id="152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524138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53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24138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54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24138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55" name="Rectangle 154"/>
          <p:cNvSpPr/>
          <p:nvPr userDrawn="1"/>
        </p:nvSpPr>
        <p:spPr>
          <a:xfrm>
            <a:off x="1859057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600">
              <a:solidFill>
                <a:srgbClr val="FFFFFF"/>
              </a:solidFill>
            </a:endParaRPr>
          </a:p>
        </p:txBody>
      </p:sp>
      <p:sp>
        <p:nvSpPr>
          <p:cNvPr id="156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1950357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57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1950357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5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1950357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59" name="Rectangle 158"/>
          <p:cNvSpPr/>
          <p:nvPr userDrawn="1"/>
        </p:nvSpPr>
        <p:spPr>
          <a:xfrm>
            <a:off x="3272950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600">
              <a:solidFill>
                <a:srgbClr val="FFFFFF"/>
              </a:solidFill>
            </a:endParaRPr>
          </a:p>
        </p:txBody>
      </p:sp>
      <p:sp>
        <p:nvSpPr>
          <p:cNvPr id="160" name="Picture Placeholder 4"/>
          <p:cNvSpPr>
            <a:spLocks noGrp="1"/>
          </p:cNvSpPr>
          <p:nvPr>
            <p:ph type="pic" sz="quarter" idx="19" hasCustomPrompt="1"/>
          </p:nvPr>
        </p:nvSpPr>
        <p:spPr>
          <a:xfrm>
            <a:off x="3364250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1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3364250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364250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63" name="Rectangle 162"/>
          <p:cNvSpPr/>
          <p:nvPr userDrawn="1"/>
        </p:nvSpPr>
        <p:spPr>
          <a:xfrm>
            <a:off x="4646564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600">
              <a:solidFill>
                <a:srgbClr val="FFFFFF"/>
              </a:solidFill>
            </a:endParaRPr>
          </a:p>
        </p:txBody>
      </p:sp>
      <p:sp>
        <p:nvSpPr>
          <p:cNvPr id="164" name="Picture Placeholder 4"/>
          <p:cNvSpPr>
            <a:spLocks noGrp="1"/>
          </p:cNvSpPr>
          <p:nvPr>
            <p:ph type="pic" sz="quarter" idx="22" hasCustomPrompt="1"/>
          </p:nvPr>
        </p:nvSpPr>
        <p:spPr>
          <a:xfrm>
            <a:off x="4737864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737864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6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4737864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67" name="Rectangle 166"/>
          <p:cNvSpPr/>
          <p:nvPr userDrawn="1"/>
        </p:nvSpPr>
        <p:spPr>
          <a:xfrm>
            <a:off x="6100746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600">
              <a:solidFill>
                <a:srgbClr val="FFFFFF"/>
              </a:solidFill>
            </a:endParaRPr>
          </a:p>
        </p:txBody>
      </p:sp>
      <p:sp>
        <p:nvSpPr>
          <p:cNvPr id="168" name="Picture Placeholder 4"/>
          <p:cNvSpPr>
            <a:spLocks noGrp="1"/>
          </p:cNvSpPr>
          <p:nvPr>
            <p:ph type="pic" sz="quarter" idx="25" hasCustomPrompt="1"/>
          </p:nvPr>
        </p:nvSpPr>
        <p:spPr>
          <a:xfrm>
            <a:off x="6192046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69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6192046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0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6192046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1" name="Rectangle 170"/>
          <p:cNvSpPr/>
          <p:nvPr userDrawn="1"/>
        </p:nvSpPr>
        <p:spPr>
          <a:xfrm>
            <a:off x="7498529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600">
              <a:solidFill>
                <a:srgbClr val="FFFFFF"/>
              </a:solidFill>
            </a:endParaRPr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28" hasCustomPrompt="1"/>
          </p:nvPr>
        </p:nvSpPr>
        <p:spPr>
          <a:xfrm>
            <a:off x="7589829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73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7589829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4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7589829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5" name="Rectangle 174"/>
          <p:cNvSpPr/>
          <p:nvPr userDrawn="1"/>
        </p:nvSpPr>
        <p:spPr>
          <a:xfrm>
            <a:off x="8927502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600">
              <a:solidFill>
                <a:srgbClr val="FFFFFF"/>
              </a:solidFill>
            </a:endParaRPr>
          </a:p>
        </p:txBody>
      </p:sp>
      <p:sp>
        <p:nvSpPr>
          <p:cNvPr id="176" name="Picture Placeholder 4"/>
          <p:cNvSpPr>
            <a:spLocks noGrp="1"/>
          </p:cNvSpPr>
          <p:nvPr>
            <p:ph type="pic" sz="quarter" idx="31" hasCustomPrompt="1"/>
          </p:nvPr>
        </p:nvSpPr>
        <p:spPr>
          <a:xfrm>
            <a:off x="9018802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77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9018802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78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9018802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79" name="Rectangle 178"/>
          <p:cNvSpPr/>
          <p:nvPr userDrawn="1"/>
        </p:nvSpPr>
        <p:spPr>
          <a:xfrm>
            <a:off x="10405847" y="3708911"/>
            <a:ext cx="1314779" cy="1500607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600">
              <a:solidFill>
                <a:srgbClr val="FFFFFF"/>
              </a:solidFill>
            </a:endParaRPr>
          </a:p>
        </p:txBody>
      </p:sp>
      <p:sp>
        <p:nvSpPr>
          <p:cNvPr id="180" name="Picture Placeholder 4"/>
          <p:cNvSpPr>
            <a:spLocks noGrp="1"/>
          </p:cNvSpPr>
          <p:nvPr>
            <p:ph type="pic" sz="quarter" idx="34" hasCustomPrompt="1"/>
          </p:nvPr>
        </p:nvSpPr>
        <p:spPr>
          <a:xfrm>
            <a:off x="10497147" y="3817672"/>
            <a:ext cx="1129316" cy="978478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81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10497147" y="4834559"/>
            <a:ext cx="1129316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182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10497147" y="4999290"/>
            <a:ext cx="1129316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tx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5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62396523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. Strategy Slide - Company/Function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97693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6047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MPANY / FUNCTION ORG CHART.</a:t>
            </a:r>
          </a:p>
        </p:txBody>
      </p:sp>
      <p:cxnSp>
        <p:nvCxnSpPr>
          <p:cNvPr id="143" name="Straight Connector 142"/>
          <p:cNvCxnSpPr>
            <a:stCxn id="210" idx="2"/>
          </p:cNvCxnSpPr>
          <p:nvPr userDrawn="1"/>
        </p:nvCxnSpPr>
        <p:spPr>
          <a:xfrm>
            <a:off x="5367448" y="2111551"/>
            <a:ext cx="0" cy="568149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/>
          <p:cNvCxnSpPr/>
          <p:nvPr userDrawn="1"/>
        </p:nvCxnSpPr>
        <p:spPr>
          <a:xfrm flipH="1">
            <a:off x="2979125" y="2530165"/>
            <a:ext cx="485527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ounded Rectangle 144"/>
          <p:cNvSpPr/>
          <p:nvPr userDrawn="1"/>
        </p:nvSpPr>
        <p:spPr>
          <a:xfrm>
            <a:off x="2112960" y="27076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900">
              <a:solidFill>
                <a:srgbClr val="FFFFFF"/>
              </a:solidFill>
            </a:endParaRPr>
          </a:p>
        </p:txBody>
      </p:sp>
      <p:cxnSp>
        <p:nvCxnSpPr>
          <p:cNvPr id="146" name="Straight Connector 145"/>
          <p:cNvCxnSpPr/>
          <p:nvPr userDrawn="1"/>
        </p:nvCxnSpPr>
        <p:spPr>
          <a:xfrm>
            <a:off x="2977056" y="2530165"/>
            <a:ext cx="0" cy="149535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ounded Rectangle 146"/>
          <p:cNvSpPr/>
          <p:nvPr userDrawn="1"/>
        </p:nvSpPr>
        <p:spPr>
          <a:xfrm>
            <a:off x="1534225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148" name="Rounded Rectangle 147"/>
          <p:cNvSpPr/>
          <p:nvPr userDrawn="1"/>
        </p:nvSpPr>
        <p:spPr>
          <a:xfrm>
            <a:off x="1534225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149" name="Rounded Rectangle 148"/>
          <p:cNvSpPr/>
          <p:nvPr userDrawn="1"/>
        </p:nvSpPr>
        <p:spPr>
          <a:xfrm>
            <a:off x="1534225" y="47400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150" name="Rounded Rectangle 149"/>
          <p:cNvSpPr/>
          <p:nvPr userDrawn="1"/>
        </p:nvSpPr>
        <p:spPr>
          <a:xfrm>
            <a:off x="1534225" y="5376518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900">
              <a:solidFill>
                <a:srgbClr val="FFFFFF"/>
              </a:solidFill>
            </a:endParaRPr>
          </a:p>
        </p:txBody>
      </p:sp>
      <p:cxnSp>
        <p:nvCxnSpPr>
          <p:cNvPr id="151" name="Straight Connector 150"/>
          <p:cNvCxnSpPr/>
          <p:nvPr userDrawn="1"/>
        </p:nvCxnSpPr>
        <p:spPr>
          <a:xfrm>
            <a:off x="3518616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/>
          <p:cNvCxnSpPr/>
          <p:nvPr userDrawn="1"/>
        </p:nvCxnSpPr>
        <p:spPr>
          <a:xfrm flipH="1">
            <a:off x="3331590" y="435037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/>
          <p:nvPr userDrawn="1"/>
        </p:nvCxnSpPr>
        <p:spPr>
          <a:xfrm>
            <a:off x="3697136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/>
          <p:nvPr userDrawn="1"/>
        </p:nvCxnSpPr>
        <p:spPr>
          <a:xfrm rot="-5400000">
            <a:off x="3796653" y="5536653"/>
            <a:ext cx="0" cy="201706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ounded Rectangle 157"/>
          <p:cNvSpPr/>
          <p:nvPr userDrawn="1"/>
        </p:nvSpPr>
        <p:spPr>
          <a:xfrm>
            <a:off x="4486666" y="27076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159" name="Rounded Rectangle 158"/>
          <p:cNvSpPr/>
          <p:nvPr userDrawn="1"/>
        </p:nvSpPr>
        <p:spPr>
          <a:xfrm>
            <a:off x="3944993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160" name="Rounded Rectangle 159"/>
          <p:cNvSpPr/>
          <p:nvPr userDrawn="1"/>
        </p:nvSpPr>
        <p:spPr>
          <a:xfrm>
            <a:off x="3944993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161" name="Rounded Rectangle 160"/>
          <p:cNvSpPr/>
          <p:nvPr userDrawn="1"/>
        </p:nvSpPr>
        <p:spPr>
          <a:xfrm>
            <a:off x="3944993" y="474002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162" name="Rounded Rectangle 161"/>
          <p:cNvSpPr/>
          <p:nvPr userDrawn="1"/>
        </p:nvSpPr>
        <p:spPr>
          <a:xfrm>
            <a:off x="3944993" y="5376518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900">
              <a:solidFill>
                <a:srgbClr val="FFFFFF"/>
              </a:solidFill>
            </a:endParaRPr>
          </a:p>
        </p:txBody>
      </p:sp>
      <p:cxnSp>
        <p:nvCxnSpPr>
          <p:cNvPr id="163" name="Straight Connector 162"/>
          <p:cNvCxnSpPr/>
          <p:nvPr userDrawn="1"/>
        </p:nvCxnSpPr>
        <p:spPr>
          <a:xfrm>
            <a:off x="5929384" y="3281832"/>
            <a:ext cx="0" cy="2350552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/>
          <p:cNvCxnSpPr/>
          <p:nvPr userDrawn="1"/>
        </p:nvCxnSpPr>
        <p:spPr>
          <a:xfrm flipH="1">
            <a:off x="5750905" y="3705221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Rounded Rectangle 173"/>
          <p:cNvSpPr/>
          <p:nvPr userDrawn="1"/>
        </p:nvSpPr>
        <p:spPr>
          <a:xfrm>
            <a:off x="6849249" y="2723664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175" name="Rounded Rectangle 174"/>
          <p:cNvSpPr/>
          <p:nvPr userDrawn="1"/>
        </p:nvSpPr>
        <p:spPr>
          <a:xfrm>
            <a:off x="6307576" y="3455452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176" name="Rounded Rectangle 175"/>
          <p:cNvSpPr/>
          <p:nvPr userDrawn="1"/>
        </p:nvSpPr>
        <p:spPr>
          <a:xfrm>
            <a:off x="6307576" y="4108645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900">
              <a:solidFill>
                <a:srgbClr val="FFFFFF"/>
              </a:solidFill>
            </a:endParaRPr>
          </a:p>
        </p:txBody>
      </p:sp>
      <p:cxnSp>
        <p:nvCxnSpPr>
          <p:cNvPr id="177" name="Straight Connector 176"/>
          <p:cNvCxnSpPr/>
          <p:nvPr userDrawn="1"/>
        </p:nvCxnSpPr>
        <p:spPr>
          <a:xfrm>
            <a:off x="8291967" y="3281832"/>
            <a:ext cx="0" cy="1068546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0" name="Rounded Rectangle 179"/>
          <p:cNvSpPr/>
          <p:nvPr userDrawn="1"/>
        </p:nvSpPr>
        <p:spPr>
          <a:xfrm>
            <a:off x="9018041" y="3445559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181" name="Rounded Rectangle 180"/>
          <p:cNvSpPr/>
          <p:nvPr userDrawn="1"/>
        </p:nvSpPr>
        <p:spPr>
          <a:xfrm>
            <a:off x="8476368" y="417734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182" name="Rounded Rectangle 181"/>
          <p:cNvSpPr/>
          <p:nvPr userDrawn="1"/>
        </p:nvSpPr>
        <p:spPr>
          <a:xfrm>
            <a:off x="8476368" y="4830540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183" name="Rounded Rectangle 182"/>
          <p:cNvSpPr/>
          <p:nvPr userDrawn="1"/>
        </p:nvSpPr>
        <p:spPr>
          <a:xfrm>
            <a:off x="8476368" y="546191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900">
              <a:solidFill>
                <a:srgbClr val="FFFFFF"/>
              </a:solidFill>
            </a:endParaRPr>
          </a:p>
        </p:txBody>
      </p:sp>
      <p:cxnSp>
        <p:nvCxnSpPr>
          <p:cNvPr id="185" name="Straight Connector 184"/>
          <p:cNvCxnSpPr/>
          <p:nvPr userDrawn="1"/>
        </p:nvCxnSpPr>
        <p:spPr>
          <a:xfrm>
            <a:off x="10460759" y="4003727"/>
            <a:ext cx="0" cy="1715858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/>
          <p:cNvCxnSpPr/>
          <p:nvPr userDrawn="1"/>
        </p:nvCxnSpPr>
        <p:spPr>
          <a:xfrm flipH="1">
            <a:off x="10291072" y="4427116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Straight Connector 198"/>
          <p:cNvCxnSpPr/>
          <p:nvPr userDrawn="1"/>
        </p:nvCxnSpPr>
        <p:spPr>
          <a:xfrm>
            <a:off x="7834402" y="2530165"/>
            <a:ext cx="0" cy="177457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Connector 199"/>
          <p:cNvCxnSpPr/>
          <p:nvPr userDrawn="1"/>
        </p:nvCxnSpPr>
        <p:spPr>
          <a:xfrm flipH="1">
            <a:off x="6322236" y="1853247"/>
            <a:ext cx="3545494" cy="0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Connector 200"/>
          <p:cNvCxnSpPr/>
          <p:nvPr userDrawn="1"/>
        </p:nvCxnSpPr>
        <p:spPr>
          <a:xfrm flipV="1">
            <a:off x="9867730" y="1852539"/>
            <a:ext cx="0" cy="1560250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/>
          <p:cNvCxnSpPr/>
          <p:nvPr userDrawn="1"/>
        </p:nvCxnSpPr>
        <p:spPr>
          <a:xfrm flipH="1">
            <a:off x="8104941" y="3725455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Rounded Rectangle 209"/>
          <p:cNvSpPr/>
          <p:nvPr userDrawn="1"/>
        </p:nvSpPr>
        <p:spPr>
          <a:xfrm>
            <a:off x="4486666" y="1605897"/>
            <a:ext cx="1761564" cy="505654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20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610101" y="1738623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0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610101" y="1903354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04650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2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604650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3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6976375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4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6976375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15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2239275" y="2841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6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2239275" y="3005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17" name="Straight Connector 216"/>
          <p:cNvCxnSpPr/>
          <p:nvPr userDrawn="1"/>
        </p:nvCxnSpPr>
        <p:spPr>
          <a:xfrm flipH="1">
            <a:off x="8104941" y="4350930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166142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19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166142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20" name="Straight Connector 219"/>
          <p:cNvCxnSpPr/>
          <p:nvPr userDrawn="1"/>
        </p:nvCxnSpPr>
        <p:spPr>
          <a:xfrm flipH="1">
            <a:off x="3331590" y="373442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/>
          <p:cNvCxnSpPr/>
          <p:nvPr userDrawn="1"/>
        </p:nvCxnSpPr>
        <p:spPr>
          <a:xfrm flipH="1">
            <a:off x="3331590" y="5007603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/>
          <p:cNvCxnSpPr/>
          <p:nvPr userDrawn="1"/>
        </p:nvCxnSpPr>
        <p:spPr>
          <a:xfrm flipH="1">
            <a:off x="3331590" y="5633078"/>
            <a:ext cx="187026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1661425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4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1661425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2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1661425" y="486992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1661425" y="503465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27" name="Text Placeholder 7"/>
          <p:cNvSpPr>
            <a:spLocks noGrp="1"/>
          </p:cNvSpPr>
          <p:nvPr>
            <p:ph type="body" sz="quarter" idx="25" hasCustomPrompt="1"/>
          </p:nvPr>
        </p:nvSpPr>
        <p:spPr>
          <a:xfrm>
            <a:off x="1661425" y="5508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28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1661425" y="5672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0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4063966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1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063966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2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4063966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3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4063966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4" name="Text Placeholder 7"/>
          <p:cNvSpPr>
            <a:spLocks noGrp="1"/>
          </p:cNvSpPr>
          <p:nvPr>
            <p:ph type="body" sz="quarter" idx="31" hasCustomPrompt="1"/>
          </p:nvPr>
        </p:nvSpPr>
        <p:spPr>
          <a:xfrm>
            <a:off x="4063966" y="486992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5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4063966" y="503465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36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4063966" y="5508096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37" name="Text Placehold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063966" y="5672827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5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8600107" y="4312984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46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8600107" y="4477715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7" name="Text Placeholder 7"/>
          <p:cNvSpPr>
            <a:spLocks noGrp="1"/>
          </p:cNvSpPr>
          <p:nvPr>
            <p:ph type="body" sz="quarter" idx="37" hasCustomPrompt="1"/>
          </p:nvPr>
        </p:nvSpPr>
        <p:spPr>
          <a:xfrm>
            <a:off x="8600107" y="4941634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48" name="Text Placeholder 7"/>
          <p:cNvSpPr>
            <a:spLocks noGrp="1"/>
          </p:cNvSpPr>
          <p:nvPr>
            <p:ph type="body" sz="quarter" idx="38" hasCustomPrompt="1"/>
          </p:nvPr>
        </p:nvSpPr>
        <p:spPr>
          <a:xfrm>
            <a:off x="8600107" y="5106365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49" name="Text Placeholder 7"/>
          <p:cNvSpPr>
            <a:spLocks noGrp="1"/>
          </p:cNvSpPr>
          <p:nvPr>
            <p:ph type="body" sz="quarter" idx="39" hasCustomPrompt="1"/>
          </p:nvPr>
        </p:nvSpPr>
        <p:spPr>
          <a:xfrm>
            <a:off x="8600107" y="5579809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0" name="Text Placeholder 7"/>
          <p:cNvSpPr>
            <a:spLocks noGrp="1"/>
          </p:cNvSpPr>
          <p:nvPr>
            <p:ph type="body" sz="quarter" idx="40" hasCustomPrompt="1"/>
          </p:nvPr>
        </p:nvSpPr>
        <p:spPr>
          <a:xfrm>
            <a:off x="8600107" y="5744540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1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643662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2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643662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3" name="Text Placeholder 7"/>
          <p:cNvSpPr>
            <a:spLocks noGrp="1"/>
          </p:cNvSpPr>
          <p:nvPr>
            <p:ph type="body" sz="quarter" idx="43" hasCustomPrompt="1"/>
          </p:nvPr>
        </p:nvSpPr>
        <p:spPr>
          <a:xfrm>
            <a:off x="6436625" y="4241271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4" name="Text Placeholder 7"/>
          <p:cNvSpPr>
            <a:spLocks noGrp="1"/>
          </p:cNvSpPr>
          <p:nvPr>
            <p:ph type="body" sz="quarter" idx="44" hasCustomPrompt="1"/>
          </p:nvPr>
        </p:nvSpPr>
        <p:spPr>
          <a:xfrm>
            <a:off x="6436625" y="4406002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sp>
        <p:nvSpPr>
          <p:cNvPr id="255" name="Text Placeholder 7"/>
          <p:cNvSpPr>
            <a:spLocks noGrp="1"/>
          </p:cNvSpPr>
          <p:nvPr>
            <p:ph type="body" sz="quarter" idx="45" hasCustomPrompt="1"/>
          </p:nvPr>
        </p:nvSpPr>
        <p:spPr>
          <a:xfrm>
            <a:off x="9161895" y="3578458"/>
            <a:ext cx="1514474" cy="14602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00" baseline="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NAME HERE. U/C WHITE. 8PT</a:t>
            </a:r>
          </a:p>
        </p:txBody>
      </p:sp>
      <p:sp>
        <p:nvSpPr>
          <p:cNvPr id="256" name="Text Placeholder 7"/>
          <p:cNvSpPr>
            <a:spLocks noGrp="1"/>
          </p:cNvSpPr>
          <p:nvPr>
            <p:ph type="body" sz="quarter" idx="46" hasCustomPrompt="1"/>
          </p:nvPr>
        </p:nvSpPr>
        <p:spPr>
          <a:xfrm>
            <a:off x="9161895" y="3743189"/>
            <a:ext cx="1514474" cy="81945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/>
              <a:t>Job Title. White. 6PT</a:t>
            </a:r>
          </a:p>
        </p:txBody>
      </p:sp>
      <p:cxnSp>
        <p:nvCxnSpPr>
          <p:cNvPr id="257" name="Straight Connector 256"/>
          <p:cNvCxnSpPr/>
          <p:nvPr userDrawn="1"/>
        </p:nvCxnSpPr>
        <p:spPr>
          <a:xfrm flipH="1">
            <a:off x="10291072" y="5104123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Straight Connector 257"/>
          <p:cNvCxnSpPr/>
          <p:nvPr userDrawn="1"/>
        </p:nvCxnSpPr>
        <p:spPr>
          <a:xfrm flipH="1">
            <a:off x="10291072" y="5719585"/>
            <a:ext cx="169687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Straight Connector 258"/>
          <p:cNvCxnSpPr/>
          <p:nvPr userDrawn="1"/>
        </p:nvCxnSpPr>
        <p:spPr>
          <a:xfrm flipH="1">
            <a:off x="5750905" y="4377832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Straight Connector 259"/>
          <p:cNvCxnSpPr/>
          <p:nvPr userDrawn="1"/>
        </p:nvCxnSpPr>
        <p:spPr>
          <a:xfrm flipH="1">
            <a:off x="5750905" y="5024067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Straight Connector 260"/>
          <p:cNvCxnSpPr/>
          <p:nvPr userDrawn="1"/>
        </p:nvCxnSpPr>
        <p:spPr>
          <a:xfrm flipH="1">
            <a:off x="5750905" y="5630736"/>
            <a:ext cx="17847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94747367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. Strategy Slid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65697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58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BLANK SLIDE FOR BESPOKE USE.</a:t>
            </a:r>
          </a:p>
        </p:txBody>
      </p:sp>
      <p:sp>
        <p:nvSpPr>
          <p:cNvPr id="7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7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75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92243642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. Strategy Slide Blank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5068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885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NFIDENTIAL SLIDE.</a:t>
            </a:r>
          </a:p>
        </p:txBody>
      </p:sp>
      <p:sp>
        <p:nvSpPr>
          <p:cNvPr id="5" name="Parallelogram 4"/>
          <p:cNvSpPr/>
          <p:nvPr userDrawn="1"/>
        </p:nvSpPr>
        <p:spPr>
          <a:xfrm rot="10800000" flipH="1">
            <a:off x="9353004" y="3501"/>
            <a:ext cx="1514367" cy="998836"/>
          </a:xfrm>
          <a:prstGeom prst="parallelogram">
            <a:avLst>
              <a:gd name="adj" fmla="val 100977"/>
            </a:avLst>
          </a:prstGeom>
          <a:solidFill>
            <a:schemeClr val="accent4"/>
          </a:solidFill>
          <a:ln>
            <a:noFill/>
          </a:ln>
          <a:effectLst>
            <a:outerShdw blurRad="381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 rot="2653766">
            <a:off x="9346483" y="320608"/>
            <a:ext cx="1546873" cy="3552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NFIDENTIAL</a:t>
            </a:r>
          </a:p>
        </p:txBody>
      </p:sp>
      <p:sp>
        <p:nvSpPr>
          <p:cNvPr id="6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65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65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07438499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. Strategy Slide 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64946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04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EXECUTIVE SUMMARY SLIDE.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36571" y="1548820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| 01</a:t>
            </a:r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557293" y="1550217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br>
              <a:rPr lang="en-US"/>
            </a:br>
            <a:r>
              <a:rPr lang="en-US"/>
              <a:t>• 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38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36571" y="2462733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| 02</a:t>
            </a:r>
          </a:p>
        </p:txBody>
      </p:sp>
      <p:sp>
        <p:nvSpPr>
          <p:cNvPr id="41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36570" y="3380924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/>
              <a:t>| 03</a:t>
            </a:r>
          </a:p>
        </p:txBody>
      </p:sp>
      <p:sp>
        <p:nvSpPr>
          <p:cNvPr id="44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736570" y="4298839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| 04</a:t>
            </a:r>
          </a:p>
        </p:txBody>
      </p:sp>
      <p:sp>
        <p:nvSpPr>
          <p:cNvPr id="50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736570" y="5184791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| 05</a:t>
            </a:r>
          </a:p>
        </p:txBody>
      </p:sp>
      <p:sp>
        <p:nvSpPr>
          <p:cNvPr id="52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1557293" y="2462733"/>
            <a:ext cx="5284941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br>
              <a:rPr lang="en-US"/>
            </a:br>
            <a:r>
              <a:rPr lang="en-US"/>
              <a:t>• Lea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</a:p>
        </p:txBody>
      </p:sp>
      <p:sp>
        <p:nvSpPr>
          <p:cNvPr id="53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1557293" y="3376282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br>
              <a:rPr lang="en-US"/>
            </a:br>
            <a:r>
              <a:rPr lang="en-US"/>
              <a:t>•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endParaRPr lang="en-US"/>
          </a:p>
        </p:txBody>
      </p:sp>
      <p:sp>
        <p:nvSpPr>
          <p:cNvPr id="54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1557293" y="4297539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 </a:t>
            </a:r>
            <a:r>
              <a:rPr lang="en-US" err="1"/>
              <a:t>prompta</a:t>
            </a:r>
            <a:r>
              <a:rPr lang="en-US"/>
              <a:t> qui no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55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1557293" y="5187109"/>
            <a:ext cx="7376500" cy="77256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200" baseline="0"/>
            </a:lvl1pPr>
          </a:lstStyle>
          <a:p>
            <a:pPr lvl="0"/>
            <a:r>
              <a:rPr lang="en-US"/>
              <a:t>Executive Summary text 14PT</a:t>
            </a:r>
            <a:br>
              <a:rPr lang="en-US"/>
            </a:br>
            <a:r>
              <a:rPr lang="en-US"/>
              <a:t>•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br>
              <a:rPr lang="en-US"/>
            </a:br>
            <a:r>
              <a:rPr lang="en-US"/>
              <a:t>• 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imperdie</a:t>
            </a:r>
            <a:br>
              <a:rPr lang="en-US"/>
            </a:br>
            <a:r>
              <a:rPr lang="en-US"/>
              <a:t>•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</a:t>
            </a:r>
          </a:p>
        </p:txBody>
      </p:sp>
      <p:sp>
        <p:nvSpPr>
          <p:cNvPr id="5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5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72513069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LLA Slide - Large Bol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0264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31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LARGE BOLD TEXT FOR CREATIVE INTEREST.</a:t>
            </a:r>
          </a:p>
        </p:txBody>
      </p:sp>
      <p:sp>
        <p:nvSpPr>
          <p:cNvPr id="44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10348785" cy="43800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4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4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96097A3-845D-4C79-9B10-713A1871175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bg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89784090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p31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654671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 Strategy Slide - 3 Numbered Boxes with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2111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58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THREE NUMBERED BOXES WITH TEXT/BULLET POINTS.</a:t>
            </a:r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3044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073149" y="1933792"/>
            <a:ext cx="2968763" cy="323086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841881" y="1850814"/>
            <a:ext cx="462537" cy="46253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841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9239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692649" y="1933792"/>
            <a:ext cx="2968763" cy="32308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4461381" y="1850814"/>
            <a:ext cx="462537" cy="462537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613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543418" y="2323839"/>
            <a:ext cx="2737494" cy="342011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Intro description text. Grey. 10PT. 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br>
              <a:rPr lang="en-US"/>
            </a:b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endParaRPr lang="en-US"/>
          </a:p>
        </p:txBody>
      </p:sp>
      <p:sp>
        <p:nvSpPr>
          <p:cNvPr id="55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312149" y="1933792"/>
            <a:ext cx="2968763" cy="323086"/>
          </a:xfrm>
          <a:prstGeom prst="rect">
            <a:avLst/>
          </a:prstGeom>
          <a:solidFill>
            <a:schemeClr val="accent3"/>
          </a:solidFill>
        </p:spPr>
        <p:txBody>
          <a:bodyPr lIns="324000" anchor="ctr"/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. WHITE. U/C. 14PT</a:t>
            </a:r>
          </a:p>
        </p:txBody>
      </p:sp>
      <p:sp>
        <p:nvSpPr>
          <p:cNvPr id="56" name="Oval 55"/>
          <p:cNvSpPr/>
          <p:nvPr userDrawn="1"/>
        </p:nvSpPr>
        <p:spPr>
          <a:xfrm>
            <a:off x="8080881" y="1850814"/>
            <a:ext cx="462537" cy="462537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080881" y="1958328"/>
            <a:ext cx="462537" cy="27628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13182511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ont Cover Slide - Fibre Optic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3190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44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8"/>
          <a:stretch/>
        </p:blipFill>
        <p:spPr>
          <a:xfrm>
            <a:off x="0" y="15589"/>
            <a:ext cx="12192000" cy="4708829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7" cstate="screen">
            <a:alphaModFix amt="3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19861" y="0"/>
            <a:ext cx="2372139" cy="4802775"/>
          </a:xfrm>
          <a:prstGeom prst="rect">
            <a:avLst/>
          </a:prstGeom>
          <a:effectLst/>
        </p:spPr>
      </p:pic>
      <p:sp>
        <p:nvSpPr>
          <p:cNvPr id="10" name="Rounded Rectangle 9"/>
          <p:cNvSpPr/>
          <p:nvPr userDrawn="1"/>
        </p:nvSpPr>
        <p:spPr>
          <a:xfrm>
            <a:off x="2552617" y="4351843"/>
            <a:ext cx="1148080" cy="450932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1600">
              <a:solidFill>
                <a:srgbClr val="FFFFFF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548398" y="4712870"/>
            <a:ext cx="1144933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ounded Rectangle 11"/>
          <p:cNvSpPr/>
          <p:nvPr userDrawn="1"/>
        </p:nvSpPr>
        <p:spPr>
          <a:xfrm>
            <a:off x="1366112" y="4351843"/>
            <a:ext cx="1148080" cy="450932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1600">
              <a:solidFill>
                <a:srgbClr val="FFFFFF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1370281" y="4712870"/>
            <a:ext cx="1144933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ounded Rectangle 13"/>
          <p:cNvSpPr/>
          <p:nvPr userDrawn="1"/>
        </p:nvSpPr>
        <p:spPr>
          <a:xfrm>
            <a:off x="182404" y="4351843"/>
            <a:ext cx="1148080" cy="450932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223643" y="4261406"/>
            <a:ext cx="1119423" cy="61555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en-US" sz="400">
                <a:solidFill>
                  <a:srgbClr val="FFFFFF"/>
                </a:solidFill>
              </a:rPr>
              <a:t>Part of Liberty Latin America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144" t="13098" r="7849" b="8586"/>
          <a:stretch/>
        </p:blipFill>
        <p:spPr>
          <a:xfrm>
            <a:off x="310601" y="4409887"/>
            <a:ext cx="873110" cy="232210"/>
          </a:xfrm>
          <a:prstGeom prst="rect">
            <a:avLst/>
          </a:prstGeom>
          <a:effectLst/>
        </p:spPr>
      </p:pic>
      <p:cxnSp>
        <p:nvCxnSpPr>
          <p:cNvPr id="17" name="Straight Connector 16"/>
          <p:cNvCxnSpPr/>
          <p:nvPr userDrawn="1"/>
        </p:nvCxnSpPr>
        <p:spPr>
          <a:xfrm flipV="1">
            <a:off x="182404" y="4719044"/>
            <a:ext cx="1149102" cy="14409"/>
          </a:xfrm>
          <a:prstGeom prst="line">
            <a:avLst/>
          </a:prstGeom>
          <a:ln w="38100">
            <a:solidFill>
              <a:schemeClr val="accent6">
                <a:lumMod val="50000"/>
              </a:schemeClr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402383"/>
            <a:ext cx="2743200" cy="271225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3747193-3331-4B94-94C7-B3CA543CF7DF}" type="datetime2">
              <a:rPr lang="en-US" smtClean="0">
                <a:solidFill>
                  <a:srgbClr val="3E3838"/>
                </a:solidFill>
              </a:rPr>
              <a:pPr>
                <a:defRPr/>
              </a:pPr>
              <a:t>Sunday, July 17, 2022</a:t>
            </a:fld>
            <a:endParaRPr lang="en-US">
              <a:solidFill>
                <a:srgbClr val="3E3838"/>
              </a:solidFill>
            </a:endParaRPr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5143500"/>
            <a:ext cx="9939866" cy="529167"/>
          </a:xfrm>
          <a:prstGeom prst="rect">
            <a:avLst/>
          </a:prstGeom>
        </p:spPr>
        <p:txBody>
          <a:bodyPr lIns="0" tIns="0" rIns="0" bIns="0"/>
          <a:lstStyle>
            <a:lvl1pPr>
              <a:defRPr baseline="0"/>
            </a:lvl1pPr>
          </a:lstStyle>
          <a:p>
            <a:r>
              <a:rPr lang="en-US"/>
              <a:t>FRONT COVER SLIDE | UPPERCASE ONLY | 32P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5742569"/>
            <a:ext cx="9939867" cy="345184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aseline="0"/>
            </a:lvl1pPr>
          </a:lstStyle>
          <a:p>
            <a:pPr lvl="0"/>
            <a:r>
              <a:rPr lang="en-US"/>
              <a:t>FRONT COVER SUB HEADING | UPPERCASE ONLY | 18PT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0" y="4730154"/>
            <a:ext cx="12191999" cy="2826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1600">
              <a:solidFill>
                <a:srgbClr val="FFFFFF"/>
              </a:solidFill>
            </a:endParaRPr>
          </a:p>
        </p:txBody>
      </p:sp>
      <p:cxnSp>
        <p:nvCxnSpPr>
          <p:cNvPr id="26" name="Straight Connector 25"/>
          <p:cNvCxnSpPr/>
          <p:nvPr userDrawn="1"/>
        </p:nvCxnSpPr>
        <p:spPr>
          <a:xfrm>
            <a:off x="0" y="4715383"/>
            <a:ext cx="12192000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3" name="Picture 52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4123" y="4362840"/>
            <a:ext cx="692427" cy="325697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0811" y="4387517"/>
            <a:ext cx="653109" cy="268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954035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Front Cover Slide - Fibre Optic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FEABE88-742E-41C3-BB22-5C1E4EC979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2314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592" imgH="591" progId="TCLayout.ActiveDocument.1">
                  <p:embed/>
                </p:oleObj>
              </mc:Choice>
              <mc:Fallback>
                <p:oleObj name="Diapositiva de think-cell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FEABE88-742E-41C3-BB22-5C1E4EC979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9972D0F-5B45-4A77-B504-F73820C547E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584BA00-5A5A-49D8-8A4C-5325E89B56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76" y="0"/>
            <a:ext cx="12188824" cy="5101753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7" cstate="screen">
            <a:alphaModFix amt="3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19861" y="0"/>
            <a:ext cx="2372139" cy="4802775"/>
          </a:xfrm>
          <a:prstGeom prst="rect">
            <a:avLst/>
          </a:prstGeom>
          <a:effectLst/>
        </p:spPr>
      </p:pic>
      <p:sp>
        <p:nvSpPr>
          <p:cNvPr id="10" name="Rounded Rectangle 9"/>
          <p:cNvSpPr/>
          <p:nvPr userDrawn="1"/>
        </p:nvSpPr>
        <p:spPr>
          <a:xfrm>
            <a:off x="2552617" y="4720143"/>
            <a:ext cx="1148080" cy="450932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1600">
              <a:solidFill>
                <a:srgbClr val="FFFFFF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548398" y="5081170"/>
            <a:ext cx="1144933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ounded Rectangle 11"/>
          <p:cNvSpPr/>
          <p:nvPr userDrawn="1"/>
        </p:nvSpPr>
        <p:spPr>
          <a:xfrm>
            <a:off x="1366112" y="4720143"/>
            <a:ext cx="1148080" cy="450932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1600">
              <a:solidFill>
                <a:srgbClr val="FFFFFF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1370281" y="5081170"/>
            <a:ext cx="1144933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ounded Rectangle 13"/>
          <p:cNvSpPr/>
          <p:nvPr userDrawn="1"/>
        </p:nvSpPr>
        <p:spPr>
          <a:xfrm>
            <a:off x="182404" y="4720143"/>
            <a:ext cx="1148080" cy="450932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223643" y="4629706"/>
            <a:ext cx="1119423" cy="61555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en-US" sz="400">
                <a:solidFill>
                  <a:srgbClr val="FFFFFF"/>
                </a:solidFill>
              </a:rPr>
              <a:t>Part of Liberty Latin America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144" t="13098" r="7849" b="8586"/>
          <a:stretch/>
        </p:blipFill>
        <p:spPr>
          <a:xfrm>
            <a:off x="310601" y="4778187"/>
            <a:ext cx="873110" cy="232210"/>
          </a:xfrm>
          <a:prstGeom prst="rect">
            <a:avLst/>
          </a:prstGeom>
          <a:effectLst/>
        </p:spPr>
      </p:pic>
      <p:cxnSp>
        <p:nvCxnSpPr>
          <p:cNvPr id="17" name="Straight Connector 16"/>
          <p:cNvCxnSpPr/>
          <p:nvPr userDrawn="1"/>
        </p:nvCxnSpPr>
        <p:spPr>
          <a:xfrm flipV="1">
            <a:off x="182404" y="5087344"/>
            <a:ext cx="1149102" cy="14409"/>
          </a:xfrm>
          <a:prstGeom prst="line">
            <a:avLst/>
          </a:prstGeom>
          <a:ln w="38100">
            <a:solidFill>
              <a:schemeClr val="accent6">
                <a:lumMod val="50000"/>
              </a:schemeClr>
            </a:solidFill>
            <a:headEnd type="none" w="med" len="med"/>
            <a:tailEnd type="none" w="med" len="med"/>
          </a:ln>
          <a:effectLst>
            <a:outerShdw blurRad="50800" dist="12700" dir="16200000" rotWithShape="0">
              <a:schemeClr val="tx1">
                <a:lumMod val="50000"/>
                <a:alpha val="85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5868983"/>
            <a:ext cx="2743200" cy="271225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09CF5F40-A6E3-4F12-980F-3C2C12AE0FC5}" type="datetime2">
              <a:rPr lang="en-US" smtClean="0">
                <a:solidFill>
                  <a:srgbClr val="3E3838"/>
                </a:solidFill>
              </a:rPr>
              <a:pPr>
                <a:defRPr/>
              </a:pPr>
              <a:t>Sunday, July 17, 2022</a:t>
            </a:fld>
            <a:endParaRPr lang="en-US">
              <a:solidFill>
                <a:srgbClr val="3E3838"/>
              </a:solidFill>
            </a:endParaRPr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5511800"/>
            <a:ext cx="9939866" cy="529167"/>
          </a:xfrm>
          <a:prstGeom prst="rect">
            <a:avLst/>
          </a:prstGeom>
        </p:spPr>
        <p:txBody>
          <a:bodyPr lIns="0" tIns="0" rIns="0" bIns="0"/>
          <a:lstStyle>
            <a:lvl1pPr>
              <a:defRPr baseline="0"/>
            </a:lvl1pPr>
          </a:lstStyle>
          <a:p>
            <a:r>
              <a:rPr lang="en-US"/>
              <a:t>FRONT COVER SLIDE | UPPERCASE ONLY | 32P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6110869"/>
            <a:ext cx="9939867" cy="345184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aseline="0"/>
            </a:lvl1pPr>
          </a:lstStyle>
          <a:p>
            <a:pPr lvl="0"/>
            <a:r>
              <a:rPr lang="en-US"/>
              <a:t>FRONT COVER SUB HEADING | UPPERCASE ONLY | 18PT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0" y="5098454"/>
            <a:ext cx="12191999" cy="2826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1600">
              <a:solidFill>
                <a:srgbClr val="FFFFFF"/>
              </a:solidFill>
            </a:endParaRPr>
          </a:p>
        </p:txBody>
      </p:sp>
      <p:cxnSp>
        <p:nvCxnSpPr>
          <p:cNvPr id="26" name="Straight Connector 25"/>
          <p:cNvCxnSpPr/>
          <p:nvPr userDrawn="1"/>
        </p:nvCxnSpPr>
        <p:spPr>
          <a:xfrm>
            <a:off x="0" y="5083683"/>
            <a:ext cx="12192000" cy="0"/>
          </a:xfrm>
          <a:prstGeom prst="line">
            <a:avLst/>
          </a:prstGeom>
          <a:ln w="381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3" name="Picture 52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4123" y="4731140"/>
            <a:ext cx="692427" cy="325697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0811" y="4755817"/>
            <a:ext cx="653109" cy="268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282083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Strategy Slide -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0680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31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CONTENTS PAGE/SLIDE WITH NUMBERS.</a:t>
            </a:r>
          </a:p>
        </p:txBody>
      </p:sp>
      <p:graphicFrame>
        <p:nvGraphicFramePr>
          <p:cNvPr id="12" name="Table 11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692624589"/>
              </p:ext>
            </p:extLst>
          </p:nvPr>
        </p:nvGraphicFramePr>
        <p:xfrm>
          <a:off x="725212" y="1553302"/>
          <a:ext cx="10773104" cy="4246129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94488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43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INTRODUCTION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6254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IRST TOPIC HER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  <a:endParaRPr lang="en-US" sz="1200" baseline="0">
                        <a:solidFill>
                          <a:schemeClr val="accent3"/>
                        </a:solidFill>
                      </a:endParaRP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Third Subject Heading Her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3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4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5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3682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ECOND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TOPIC HER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7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8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9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THIRD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0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OURTH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62546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FIFTH TOPIC HERE. 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  <a:p>
                      <a:pPr marL="314325" indent="0">
                        <a:tabLst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>
                          <a:solidFill>
                            <a:schemeClr val="tx2"/>
                          </a:solidFill>
                        </a:rPr>
                        <a:t>Third Subject Heading Here. Grey. 10PT</a:t>
                      </a:r>
                      <a:endParaRPr lang="en-US" sz="10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8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19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20</a:t>
                      </a:r>
                    </a:p>
                    <a:p>
                      <a:pPr algn="r"/>
                      <a:r>
                        <a:rPr lang="en-US" sz="1000">
                          <a:solidFill>
                            <a:schemeClr val="tx2"/>
                          </a:solidFill>
                        </a:rPr>
                        <a:t>2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IXTH TOPIC HERE.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2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23471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SEVENTH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TOPIC HER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UPPERCASE</a:t>
                      </a:r>
                      <a:r>
                        <a:rPr lang="en-US" sz="1200" baseline="0">
                          <a:solidFill>
                            <a:schemeClr val="accent3"/>
                          </a:solidFill>
                        </a:rPr>
                        <a:t> ONLY. DARK ORANGE. </a:t>
                      </a:r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12PT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>
                          <a:solidFill>
                            <a:schemeClr val="accent3"/>
                          </a:solidFill>
                        </a:rPr>
                        <a:t>4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7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8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64017514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Strategy Slide - Intro Para,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087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NTRO PARAGRAPH WITH BULLET POINTS AND PICTURE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26231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3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15514771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Strategy Slide - Intro Para, Bullets, 4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0526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13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NTRO PARAGRAPH WITH BULLET POINTS AND 4 X PICTURES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25214" y="1553302"/>
            <a:ext cx="6515058" cy="700289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457200" indent="0" algn="l">
              <a:buFontTx/>
              <a:buNone/>
              <a:defRPr sz="1200"/>
            </a:lvl2pPr>
            <a:lvl3pPr marL="914400" indent="0" algn="l">
              <a:buFontTx/>
              <a:buNone/>
              <a:defRPr sz="1200"/>
            </a:lvl3pPr>
            <a:lvl4pPr marL="1371600" indent="0" algn="l">
              <a:buFontTx/>
              <a:buNone/>
              <a:defRPr sz="1200"/>
            </a:lvl4pPr>
            <a:lvl5pPr marL="1828800" indent="0" algn="l">
              <a:buFontTx/>
              <a:buNone/>
              <a:defRPr sz="1200"/>
            </a:lvl5pPr>
          </a:lstStyle>
          <a:p>
            <a:pPr lvl="0"/>
            <a:r>
              <a:rPr lang="en-US"/>
              <a:t>This slide is designed to be used when you only have a small intro paragraph and bullet points. 18P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1" y="15525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25214" y="2332847"/>
            <a:ext cx="6513786" cy="3262313"/>
          </a:xfrm>
          <a:prstGeom prst="rect">
            <a:avLst/>
          </a:prstGeom>
        </p:spPr>
        <p:txBody>
          <a:bodyPr lIns="0" tIns="0" rIns="0" bIns="0"/>
          <a:lstStyle>
            <a:lvl1pPr marL="134938" indent="-134938">
              <a:tabLst/>
              <a:defRPr sz="1400" baseline="0"/>
            </a:lvl1pPr>
            <a:lvl2pPr marL="314325" indent="-136525">
              <a:tabLst/>
              <a:defRPr sz="1200" baseline="0"/>
            </a:lvl2pPr>
            <a:lvl3pPr marL="450850" indent="-136525">
              <a:tabLst/>
              <a:defRPr sz="1000" baseline="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. 14PT</a:t>
            </a:r>
          </a:p>
          <a:p>
            <a:pPr lvl="1"/>
            <a:r>
              <a:rPr lang="en-US"/>
              <a:t>Second level. 12PT</a:t>
            </a:r>
          </a:p>
          <a:p>
            <a:pPr lvl="2"/>
            <a:r>
              <a:rPr lang="en-US"/>
              <a:t>Third level. 10PT</a:t>
            </a:r>
          </a:p>
        </p:txBody>
      </p:sp>
      <p:sp>
        <p:nvSpPr>
          <p:cNvPr id="37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804400" y="15525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38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7550151" y="37623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39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9804400" y="3762375"/>
            <a:ext cx="1959609" cy="18916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40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41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2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65968847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 Strategy Slide - Large Bol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5066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050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LARGE BOLD TEXT FOR CREATIVE INTEREST.</a:t>
            </a:r>
          </a:p>
        </p:txBody>
      </p:sp>
      <p:sp>
        <p:nvSpPr>
          <p:cNvPr id="44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10348785" cy="43800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mucius</a:t>
            </a:r>
            <a:r>
              <a:rPr lang="en-US"/>
              <a:t> </a:t>
            </a:r>
            <a:r>
              <a:rPr lang="en-US" err="1"/>
              <a:t>dissentiunt</a:t>
            </a:r>
            <a:r>
              <a:rPr lang="en-US"/>
              <a:t> </a:t>
            </a:r>
            <a:r>
              <a:rPr lang="en-US" err="1"/>
              <a:t>mei</a:t>
            </a:r>
            <a:r>
              <a:rPr lang="en-US"/>
              <a:t> ad. Magna </a:t>
            </a:r>
            <a:r>
              <a:rPr lang="en-US" err="1"/>
              <a:t>omnes</a:t>
            </a:r>
            <a:r>
              <a:rPr lang="en-US"/>
              <a:t> </a:t>
            </a:r>
            <a:r>
              <a:rPr lang="en-US" err="1"/>
              <a:t>saperet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uo. Mea </a:t>
            </a:r>
            <a:r>
              <a:rPr lang="en-US" err="1"/>
              <a:t>appareat</a:t>
            </a:r>
            <a:r>
              <a:rPr lang="en-US"/>
              <a:t> </a:t>
            </a:r>
            <a:r>
              <a:rPr lang="en-US" err="1"/>
              <a:t>ocurreret</a:t>
            </a:r>
            <a:r>
              <a:rPr lang="en-US"/>
              <a:t> </a:t>
            </a:r>
            <a:r>
              <a:rPr lang="en-US" err="1"/>
              <a:t>vertitur</a:t>
            </a:r>
            <a:r>
              <a:rPr lang="en-US"/>
              <a:t>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An </a:t>
            </a:r>
            <a:r>
              <a:rPr lang="en-US" err="1"/>
              <a:t>vidit</a:t>
            </a:r>
            <a:r>
              <a:rPr lang="en-US"/>
              <a:t> </a:t>
            </a:r>
            <a:r>
              <a:rPr lang="en-US" err="1"/>
              <a:t>putent</a:t>
            </a:r>
            <a:r>
              <a:rPr lang="en-US"/>
              <a:t> </a:t>
            </a:r>
            <a:r>
              <a:rPr lang="en-US" err="1"/>
              <a:t>docendi</a:t>
            </a:r>
            <a:r>
              <a:rPr lang="en-US"/>
              <a:t> vim, duo at </a:t>
            </a:r>
            <a:r>
              <a:rPr lang="en-US" err="1"/>
              <a:t>essent</a:t>
            </a:r>
            <a:r>
              <a:rPr lang="en-US"/>
              <a:t> </a:t>
            </a:r>
            <a:r>
              <a:rPr lang="en-US" err="1"/>
              <a:t>electram</a:t>
            </a:r>
            <a:r>
              <a:rPr lang="en-US"/>
              <a:t>.</a:t>
            </a:r>
          </a:p>
        </p:txBody>
      </p:sp>
      <p:sp>
        <p:nvSpPr>
          <p:cNvPr id="4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4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70710685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 Strategy Slide - Large Bold 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6700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86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LARGE BOLD TEXT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5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812799" y="1698045"/>
            <a:ext cx="6444347" cy="32050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Use this to create large bold text statements. Use ‘Function Colors’ and different weight of text to create interest. Lorem ipsum dolor sit </a:t>
            </a:r>
            <a:r>
              <a:rPr lang="en-US" err="1"/>
              <a:t>amet</a:t>
            </a:r>
            <a:r>
              <a:rPr lang="en-US"/>
              <a:t>, et, </a:t>
            </a:r>
            <a:r>
              <a:rPr lang="en-US" err="1"/>
              <a:t>eum</a:t>
            </a:r>
            <a:r>
              <a:rPr lang="en-US"/>
              <a:t> et </a:t>
            </a:r>
            <a:r>
              <a:rPr lang="en-US" err="1"/>
              <a:t>aeque</a:t>
            </a:r>
            <a:r>
              <a:rPr lang="en-US"/>
              <a:t> </a:t>
            </a:r>
            <a:r>
              <a:rPr lang="en-US" err="1"/>
              <a:t>quidam</a:t>
            </a:r>
            <a:r>
              <a:rPr lang="en-US"/>
              <a:t> </a:t>
            </a:r>
            <a:r>
              <a:rPr lang="en-US" err="1"/>
              <a:t>mollis</a:t>
            </a:r>
            <a:r>
              <a:rPr lang="en-US"/>
              <a:t>. </a:t>
            </a:r>
          </a:p>
        </p:txBody>
      </p:sp>
      <p:sp>
        <p:nvSpPr>
          <p:cNvPr id="7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7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8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59503812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 Strategy Slide - Numbered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4895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47453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NUMBERED BULLET POINTS WITH DESCRIPTIONS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736571" y="1548820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| 01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546783" y="1548820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725214" y="2080519"/>
            <a:ext cx="5980386" cy="408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7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736571" y="2678157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| 02</a:t>
            </a:r>
          </a:p>
        </p:txBody>
      </p:sp>
      <p:sp>
        <p:nvSpPr>
          <p:cNvPr id="77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546783" y="2678157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7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25214" y="3209856"/>
            <a:ext cx="5475889" cy="4086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79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36571" y="3809511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| 03</a:t>
            </a:r>
          </a:p>
        </p:txBody>
      </p:sp>
      <p:sp>
        <p:nvSpPr>
          <p:cNvPr id="80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1546783" y="3809511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81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725214" y="4341210"/>
            <a:ext cx="5707117" cy="392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5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736571" y="4927598"/>
            <a:ext cx="743499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| 04</a:t>
            </a:r>
          </a:p>
        </p:txBody>
      </p:sp>
      <p:sp>
        <p:nvSpPr>
          <p:cNvPr id="86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1546783" y="4927598"/>
            <a:ext cx="2509620" cy="47365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800" b="0" baseline="0"/>
            </a:lvl1pPr>
          </a:lstStyle>
          <a:p>
            <a:pPr lvl="0"/>
            <a:r>
              <a:rPr lang="en-US"/>
              <a:t>Your Text Here. 18PT</a:t>
            </a:r>
          </a:p>
        </p:txBody>
      </p:sp>
      <p:sp>
        <p:nvSpPr>
          <p:cNvPr id="87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725214" y="5459297"/>
            <a:ext cx="5085527" cy="392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Description text 10PT.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r>
              <a:rPr lang="en-US"/>
              <a:t>, 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9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91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12230345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 Strategy Slide - Icon/Symbol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9671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3586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ICON/SYMBOL BULLET POINTS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7550150" y="1552575"/>
            <a:ext cx="4322763" cy="44116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546782" y="1548820"/>
            <a:ext cx="5493795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4" hasCustomPrompt="1"/>
          </p:nvPr>
        </p:nvSpPr>
        <p:spPr>
          <a:xfrm>
            <a:off x="725213" y="1536239"/>
            <a:ext cx="726483" cy="584200"/>
          </a:xfrm>
          <a:prstGeom prst="rect">
            <a:avLst/>
          </a:prstGeom>
          <a:solidFill>
            <a:schemeClr val="accent3">
              <a:lumMod val="5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54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1546782" y="2362201"/>
            <a:ext cx="5751873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55" name="Picture Placeholder 5"/>
          <p:cNvSpPr>
            <a:spLocks noGrp="1"/>
          </p:cNvSpPr>
          <p:nvPr>
            <p:ph type="pic" sz="quarter" idx="26" hasCustomPrompt="1"/>
          </p:nvPr>
        </p:nvSpPr>
        <p:spPr>
          <a:xfrm>
            <a:off x="725213" y="2349620"/>
            <a:ext cx="726483" cy="584200"/>
          </a:xfrm>
          <a:prstGeom prst="rect">
            <a:avLst/>
          </a:prstGeom>
          <a:solidFill>
            <a:schemeClr val="accent3">
              <a:lumMod val="75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82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1546783" y="3191126"/>
            <a:ext cx="4801368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3" name="Picture Placeholder 5"/>
          <p:cNvSpPr>
            <a:spLocks noGrp="1"/>
          </p:cNvSpPr>
          <p:nvPr>
            <p:ph type="pic" sz="quarter" idx="28" hasCustomPrompt="1"/>
          </p:nvPr>
        </p:nvSpPr>
        <p:spPr>
          <a:xfrm>
            <a:off x="725213" y="3178545"/>
            <a:ext cx="726483" cy="584200"/>
          </a:xfrm>
          <a:prstGeom prst="rect">
            <a:avLst/>
          </a:prstGeom>
          <a:solidFill>
            <a:schemeClr val="accent3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84" name="Text Placeholder 9"/>
          <p:cNvSpPr>
            <a:spLocks noGrp="1"/>
          </p:cNvSpPr>
          <p:nvPr>
            <p:ph type="body" sz="quarter" idx="29" hasCustomPrompt="1"/>
          </p:nvPr>
        </p:nvSpPr>
        <p:spPr>
          <a:xfrm>
            <a:off x="1546783" y="4034623"/>
            <a:ext cx="5493794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  <a:r>
              <a:rPr lang="en-US" err="1"/>
              <a:t>delicata</a:t>
            </a:r>
            <a:r>
              <a:rPr lang="en-US"/>
              <a:t> cu. </a:t>
            </a:r>
            <a:br>
              <a:rPr lang="en-US"/>
            </a:b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88" name="Picture Placeholder 5"/>
          <p:cNvSpPr>
            <a:spLocks noGrp="1"/>
          </p:cNvSpPr>
          <p:nvPr>
            <p:ph type="pic" sz="quarter" idx="30" hasCustomPrompt="1"/>
          </p:nvPr>
        </p:nvSpPr>
        <p:spPr>
          <a:xfrm>
            <a:off x="725213" y="4022042"/>
            <a:ext cx="726483" cy="584200"/>
          </a:xfrm>
          <a:prstGeom prst="rect">
            <a:avLst/>
          </a:prstGeom>
          <a:solidFill>
            <a:schemeClr val="tx1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93" name="Text Placeholder 9"/>
          <p:cNvSpPr>
            <a:spLocks noGrp="1"/>
          </p:cNvSpPr>
          <p:nvPr>
            <p:ph type="body" sz="quarter" idx="31" hasCustomPrompt="1"/>
          </p:nvPr>
        </p:nvSpPr>
        <p:spPr>
          <a:xfrm>
            <a:off x="1546783" y="4874167"/>
            <a:ext cx="5863010" cy="5716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baseline="0"/>
            </a:lvl1pPr>
          </a:lstStyle>
          <a:p>
            <a:pPr lvl="0"/>
            <a:r>
              <a:rPr lang="en-US"/>
              <a:t>Bullet Point Text 12PT.</a:t>
            </a:r>
            <a:br>
              <a:rPr lang="en-US"/>
            </a:br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delicata</a:t>
            </a:r>
            <a:r>
              <a:rPr lang="en-US"/>
              <a:t> cu.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r>
              <a:rPr lang="en-US"/>
              <a:t>.</a:t>
            </a:r>
          </a:p>
        </p:txBody>
      </p:sp>
      <p:sp>
        <p:nvSpPr>
          <p:cNvPr id="94" name="Picture Placeholder 5"/>
          <p:cNvSpPr>
            <a:spLocks noGrp="1"/>
          </p:cNvSpPr>
          <p:nvPr>
            <p:ph type="pic" sz="quarter" idx="32" hasCustomPrompt="1"/>
          </p:nvPr>
        </p:nvSpPr>
        <p:spPr>
          <a:xfrm>
            <a:off x="725213" y="4861586"/>
            <a:ext cx="726483" cy="584200"/>
          </a:xfrm>
          <a:prstGeom prst="rect">
            <a:avLst/>
          </a:prstGeom>
          <a:solidFill>
            <a:schemeClr val="tx2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60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</a:p>
        </p:txBody>
      </p:sp>
      <p:sp>
        <p:nvSpPr>
          <p:cNvPr id="9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9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97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55759011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 Strategy Slide - 5 Circle Icon/Symbol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8148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0" i="0" baseline="0">
              <a:latin typeface="Arial MT Light"/>
              <a:sym typeface="Arial MT Light"/>
            </a:endParaRPr>
          </a:p>
        </p:txBody>
      </p:sp>
      <p:cxnSp>
        <p:nvCxnSpPr>
          <p:cNvPr id="92" name="Straight Connector 91"/>
          <p:cNvCxnSpPr/>
          <p:nvPr userDrawn="1"/>
        </p:nvCxnSpPr>
        <p:spPr>
          <a:xfrm>
            <a:off x="2069538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/>
          <p:nvPr userDrawn="1"/>
        </p:nvCxnSpPr>
        <p:spPr>
          <a:xfrm>
            <a:off x="4054400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873" y="207732"/>
            <a:ext cx="9966660" cy="651750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/>
              <a:t>CLICK TO EDIT HEADING TEXT. UPPERCASE ONLY. 24PT</a:t>
            </a:r>
            <a:br>
              <a:rPr lang="en-US"/>
            </a:br>
            <a:r>
              <a:rPr lang="en-US"/>
              <a:t>FIVE CIRCLE ICON/SYMBOLS WITH BULLET POINTS.</a:t>
            </a:r>
          </a:p>
        </p:txBody>
      </p:sp>
      <p:sp>
        <p:nvSpPr>
          <p:cNvPr id="80" name="Oval 79"/>
          <p:cNvSpPr/>
          <p:nvPr userDrawn="1"/>
        </p:nvSpPr>
        <p:spPr>
          <a:xfrm>
            <a:off x="1401475" y="1653167"/>
            <a:ext cx="1341345" cy="1341345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85" name="TextBox 84"/>
          <p:cNvSpPr txBox="1"/>
          <p:nvPr userDrawn="1"/>
        </p:nvSpPr>
        <p:spPr>
          <a:xfrm>
            <a:off x="1636402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1</a:t>
            </a:r>
          </a:p>
        </p:txBody>
      </p:sp>
      <p:pic>
        <p:nvPicPr>
          <p:cNvPr id="86" name="Picture 85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7578" y="2424127"/>
            <a:ext cx="575529" cy="383686"/>
          </a:xfrm>
          <a:prstGeom prst="rect">
            <a:avLst/>
          </a:prstGeom>
        </p:spPr>
      </p:pic>
      <p:sp>
        <p:nvSpPr>
          <p:cNvPr id="10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232815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207599" y="6596252"/>
            <a:ext cx="5634401" cy="230746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r>
              <a:rPr lang="en-US">
                <a:solidFill>
                  <a:srgbClr val="FFFFFF"/>
                </a:solidFill>
              </a:rPr>
              <a:t>Projects Update  I  Week xx 2019</a:t>
            </a: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11579962" y="6591300"/>
            <a:ext cx="421501" cy="230746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9353004" y="6591300"/>
            <a:ext cx="2228850" cy="241300"/>
          </a:xfrm>
          <a:prstGeom prst="rect">
            <a:avLst/>
          </a:prstGeom>
        </p:spPr>
        <p:txBody>
          <a:bodyPr anchor="ctr"/>
          <a:lstStyle>
            <a:lvl1pPr eaLnBrk="1">
              <a:defRPr>
                <a:solidFill>
                  <a:schemeClr val="bg1"/>
                </a:solidFill>
              </a:defRPr>
            </a:lvl1pPr>
          </a:lstStyle>
          <a:p>
            <a:pPr algn="r"/>
            <a:endParaRPr lang="en-US"/>
          </a:p>
        </p:txBody>
      </p:sp>
      <p:sp>
        <p:nvSpPr>
          <p:cNvPr id="106" name="Oval 105"/>
          <p:cNvSpPr/>
          <p:nvPr userDrawn="1"/>
        </p:nvSpPr>
        <p:spPr>
          <a:xfrm>
            <a:off x="3386337" y="1653167"/>
            <a:ext cx="1341345" cy="1341345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07" name="TextBox 106"/>
          <p:cNvSpPr txBox="1"/>
          <p:nvPr userDrawn="1"/>
        </p:nvSpPr>
        <p:spPr>
          <a:xfrm>
            <a:off x="3621264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1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217677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99" name="Picture 98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5852" y="2409762"/>
            <a:ext cx="277095" cy="512721"/>
          </a:xfrm>
          <a:prstGeom prst="rect">
            <a:avLst/>
          </a:prstGeom>
        </p:spPr>
      </p:pic>
      <p:cxnSp>
        <p:nvCxnSpPr>
          <p:cNvPr id="112" name="Straight Connector 111"/>
          <p:cNvCxnSpPr/>
          <p:nvPr userDrawn="1"/>
        </p:nvCxnSpPr>
        <p:spPr>
          <a:xfrm>
            <a:off x="6044322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Oval 112"/>
          <p:cNvSpPr/>
          <p:nvPr userDrawn="1"/>
        </p:nvSpPr>
        <p:spPr>
          <a:xfrm>
            <a:off x="5376259" y="1653167"/>
            <a:ext cx="1341345" cy="1341345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14" name="TextBox 113"/>
          <p:cNvSpPr txBox="1"/>
          <p:nvPr userDrawn="1"/>
        </p:nvSpPr>
        <p:spPr>
          <a:xfrm>
            <a:off x="5611186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11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5207599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98" name="Picture 97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75509" y="2370311"/>
            <a:ext cx="537625" cy="472590"/>
          </a:xfrm>
          <a:prstGeom prst="rect">
            <a:avLst/>
          </a:prstGeom>
        </p:spPr>
      </p:pic>
      <p:cxnSp>
        <p:nvCxnSpPr>
          <p:cNvPr id="118" name="Straight Connector 117"/>
          <p:cNvCxnSpPr/>
          <p:nvPr userDrawn="1"/>
        </p:nvCxnSpPr>
        <p:spPr>
          <a:xfrm>
            <a:off x="8017846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Oval 118"/>
          <p:cNvSpPr/>
          <p:nvPr userDrawn="1"/>
        </p:nvSpPr>
        <p:spPr>
          <a:xfrm>
            <a:off x="7349783" y="1653167"/>
            <a:ext cx="1341345" cy="1341345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20" name="TextBox 119"/>
          <p:cNvSpPr txBox="1"/>
          <p:nvPr userDrawn="1"/>
        </p:nvSpPr>
        <p:spPr>
          <a:xfrm>
            <a:off x="7584710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4</a:t>
            </a:r>
          </a:p>
        </p:txBody>
      </p:sp>
      <p:sp>
        <p:nvSpPr>
          <p:cNvPr id="122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181123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100" name="Picture 99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1756" y="2406174"/>
            <a:ext cx="432179" cy="410414"/>
          </a:xfrm>
          <a:prstGeom prst="rect">
            <a:avLst/>
          </a:prstGeom>
        </p:spPr>
      </p:pic>
      <p:cxnSp>
        <p:nvCxnSpPr>
          <p:cNvPr id="124" name="Straight Connector 123"/>
          <p:cNvCxnSpPr/>
          <p:nvPr userDrawn="1"/>
        </p:nvCxnSpPr>
        <p:spPr>
          <a:xfrm>
            <a:off x="9988760" y="2960718"/>
            <a:ext cx="2609" cy="56388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Oval 124"/>
          <p:cNvSpPr/>
          <p:nvPr userDrawn="1"/>
        </p:nvSpPr>
        <p:spPr>
          <a:xfrm>
            <a:off x="9320697" y="1653167"/>
            <a:ext cx="1341345" cy="1341345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26" name="TextBox 125"/>
          <p:cNvSpPr txBox="1"/>
          <p:nvPr userDrawn="1"/>
        </p:nvSpPr>
        <p:spPr>
          <a:xfrm>
            <a:off x="9555624" y="1661716"/>
            <a:ext cx="94484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000">
                <a:solidFill>
                  <a:schemeClr val="bg1"/>
                </a:solidFill>
              </a:rPr>
              <a:t>05</a:t>
            </a:r>
          </a:p>
        </p:txBody>
      </p:sp>
      <p:sp>
        <p:nvSpPr>
          <p:cNvPr id="12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52037" y="3954522"/>
            <a:ext cx="1677678" cy="1988672"/>
          </a:xfrm>
          <a:prstGeom prst="rect">
            <a:avLst/>
          </a:prstGeom>
        </p:spPr>
        <p:txBody>
          <a:bodyPr lIns="0" tIns="0" rIns="0" bIns="0"/>
          <a:lstStyle>
            <a:lvl1pPr marL="139700" indent="-139700">
              <a:tabLst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offendit</a:t>
            </a:r>
            <a:r>
              <a:rPr lang="en-US"/>
              <a:t>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ius</a:t>
            </a:r>
            <a:r>
              <a:rPr lang="en-US"/>
              <a:t>. </a:t>
            </a:r>
            <a:r>
              <a:rPr lang="en-US" err="1"/>
              <a:t>Sed</a:t>
            </a:r>
            <a:r>
              <a:rPr lang="en-US"/>
              <a:t> ne alia dicit </a:t>
            </a:r>
            <a:r>
              <a:rPr lang="en-US" err="1"/>
              <a:t>albucius</a:t>
            </a:r>
            <a:endParaRPr lang="en-US"/>
          </a:p>
          <a:p>
            <a:pPr lvl="0"/>
            <a:r>
              <a:rPr lang="en-US"/>
              <a:t>An nihil </a:t>
            </a:r>
            <a:r>
              <a:rPr lang="en-US" err="1"/>
              <a:t>ancillae</a:t>
            </a:r>
            <a:r>
              <a:rPr lang="en-US"/>
              <a:t> vis, </a:t>
            </a:r>
            <a:r>
              <a:rPr lang="en-US" err="1"/>
              <a:t>possim</a:t>
            </a:r>
            <a:r>
              <a:rPr lang="en-US"/>
              <a:t> </a:t>
            </a:r>
            <a:r>
              <a:rPr lang="en-US" err="1"/>
              <a:t>prompta</a:t>
            </a:r>
            <a:r>
              <a:rPr lang="en-US"/>
              <a:t> </a:t>
            </a:r>
            <a:r>
              <a:rPr lang="en-US" err="1"/>
              <a:t>imperdiet</a:t>
            </a:r>
            <a:r>
              <a:rPr lang="en-US"/>
              <a:t> qui no. </a:t>
            </a:r>
          </a:p>
          <a:p>
            <a:pPr lvl="0"/>
            <a:r>
              <a:rPr lang="en-US"/>
              <a:t>Ad vim </a:t>
            </a:r>
            <a:r>
              <a:rPr lang="en-US" err="1"/>
              <a:t>noster</a:t>
            </a:r>
            <a:r>
              <a:rPr lang="en-US"/>
              <a:t> </a:t>
            </a:r>
            <a:r>
              <a:rPr lang="en-US" err="1"/>
              <a:t>audiam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, </a:t>
            </a:r>
            <a:r>
              <a:rPr lang="en-US" err="1"/>
              <a:t>ea</a:t>
            </a:r>
            <a:r>
              <a:rPr lang="en-US"/>
              <a:t> cum </a:t>
            </a:r>
            <a:r>
              <a:rPr lang="en-US" err="1"/>
              <a:t>iusto</a:t>
            </a:r>
            <a:r>
              <a:rPr lang="en-US"/>
              <a:t> </a:t>
            </a:r>
            <a:r>
              <a:rPr lang="en-US" err="1"/>
              <a:t>partem</a:t>
            </a:r>
            <a:r>
              <a:rPr lang="en-US"/>
              <a:t> </a:t>
            </a:r>
            <a:r>
              <a:rPr lang="en-US" err="1"/>
              <a:t>similique</a:t>
            </a:r>
            <a:r>
              <a:rPr lang="en-US"/>
              <a:t>,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illud</a:t>
            </a:r>
            <a:r>
              <a:rPr lang="en-US"/>
              <a:t> </a:t>
            </a:r>
          </a:p>
          <a:p>
            <a:pPr lvl="0"/>
            <a:r>
              <a:rPr lang="en-US" err="1"/>
              <a:t>Aelicata</a:t>
            </a:r>
            <a:r>
              <a:rPr lang="en-US"/>
              <a:t> cu. No cum </a:t>
            </a:r>
            <a:r>
              <a:rPr lang="en-US" err="1"/>
              <a:t>vocen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, per cu </a:t>
            </a:r>
            <a:r>
              <a:rPr lang="en-US" err="1"/>
              <a:t>duis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ponderum</a:t>
            </a:r>
            <a:endParaRPr lang="en-US"/>
          </a:p>
        </p:txBody>
      </p:sp>
      <p:pic>
        <p:nvPicPr>
          <p:cNvPr id="130" name="Picture 129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0669" y="2430632"/>
            <a:ext cx="596182" cy="340676"/>
          </a:xfrm>
          <a:prstGeom prst="rect">
            <a:avLst/>
          </a:prstGeom>
        </p:spPr>
      </p:pic>
      <p:sp>
        <p:nvSpPr>
          <p:cNvPr id="42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1232815" y="3524598"/>
            <a:ext cx="1672617" cy="396240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PEOPLE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3215559" y="3524598"/>
            <a:ext cx="1672617" cy="396240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PLACE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5208012" y="3524598"/>
            <a:ext cx="1672617" cy="396240"/>
          </a:xfrm>
          <a:prstGeom prst="rect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TIME</a:t>
            </a:r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7176317" y="3524598"/>
            <a:ext cx="1672617" cy="396240"/>
          </a:xfrm>
          <a:prstGeom prst="rect">
            <a:avLst/>
          </a:prstGeo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RESULTS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9144622" y="3524598"/>
            <a:ext cx="1672617" cy="396240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FUTURE</a:t>
            </a:r>
          </a:p>
        </p:txBody>
      </p:sp>
      <p:sp>
        <p:nvSpPr>
          <p:cNvPr id="3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873" y="927100"/>
            <a:ext cx="9966660" cy="298389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2834618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slideLayout" Target="../slideLayouts/slideLayout55.xml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34" Type="http://schemas.openxmlformats.org/officeDocument/2006/relationships/oleObject" Target="../embeddings/oleObject29.bin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slideLayout" Target="../slideLayouts/slideLayout54.xml"/><Relationship Id="rId33" Type="http://schemas.openxmlformats.org/officeDocument/2006/relationships/tags" Target="../tags/tag59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29" Type="http://schemas.openxmlformats.org/officeDocument/2006/relationships/slideLayout" Target="../slideLayouts/slideLayout58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slideLayout" Target="../slideLayouts/slideLayout53.xml"/><Relationship Id="rId32" Type="http://schemas.openxmlformats.org/officeDocument/2006/relationships/theme" Target="../theme/theme2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slideLayout" Target="../slideLayouts/slideLayout52.xml"/><Relationship Id="rId28" Type="http://schemas.openxmlformats.org/officeDocument/2006/relationships/slideLayout" Target="../slideLayouts/slideLayout57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31" Type="http://schemas.openxmlformats.org/officeDocument/2006/relationships/slideLayout" Target="../slideLayouts/slideLayout60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slideLayout" Target="../slideLayouts/slideLayout51.xml"/><Relationship Id="rId27" Type="http://schemas.openxmlformats.org/officeDocument/2006/relationships/slideLayout" Target="../slideLayouts/slideLayout56.xml"/><Relationship Id="rId30" Type="http://schemas.openxmlformats.org/officeDocument/2006/relationships/slideLayout" Target="../slideLayouts/slideLayout59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37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3.xml"/><Relationship Id="rId18" Type="http://schemas.openxmlformats.org/officeDocument/2006/relationships/slideLayout" Target="../slideLayouts/slideLayout78.xml"/><Relationship Id="rId26" Type="http://schemas.openxmlformats.org/officeDocument/2006/relationships/slideLayout" Target="../slideLayouts/slideLayout86.xml"/><Relationship Id="rId3" Type="http://schemas.openxmlformats.org/officeDocument/2006/relationships/slideLayout" Target="../slideLayouts/slideLayout63.xml"/><Relationship Id="rId21" Type="http://schemas.openxmlformats.org/officeDocument/2006/relationships/slideLayout" Target="../slideLayouts/slideLayout81.xml"/><Relationship Id="rId34" Type="http://schemas.openxmlformats.org/officeDocument/2006/relationships/oleObject" Target="../embeddings/oleObject60.bin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slideLayout" Target="../slideLayouts/slideLayout77.xml"/><Relationship Id="rId25" Type="http://schemas.openxmlformats.org/officeDocument/2006/relationships/slideLayout" Target="../slideLayouts/slideLayout85.xml"/><Relationship Id="rId33" Type="http://schemas.openxmlformats.org/officeDocument/2006/relationships/tags" Target="../tags/tag122.xml"/><Relationship Id="rId2" Type="http://schemas.openxmlformats.org/officeDocument/2006/relationships/slideLayout" Target="../slideLayouts/slideLayout62.xml"/><Relationship Id="rId16" Type="http://schemas.openxmlformats.org/officeDocument/2006/relationships/slideLayout" Target="../slideLayouts/slideLayout76.xml"/><Relationship Id="rId20" Type="http://schemas.openxmlformats.org/officeDocument/2006/relationships/slideLayout" Target="../slideLayouts/slideLayout80.xml"/><Relationship Id="rId29" Type="http://schemas.openxmlformats.org/officeDocument/2006/relationships/slideLayout" Target="../slideLayouts/slideLayout89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24" Type="http://schemas.openxmlformats.org/officeDocument/2006/relationships/slideLayout" Target="../slideLayouts/slideLayout84.xml"/><Relationship Id="rId32" Type="http://schemas.openxmlformats.org/officeDocument/2006/relationships/theme" Target="../theme/theme3.xml"/><Relationship Id="rId5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5.xml"/><Relationship Id="rId23" Type="http://schemas.openxmlformats.org/officeDocument/2006/relationships/slideLayout" Target="../slideLayouts/slideLayout83.xml"/><Relationship Id="rId28" Type="http://schemas.openxmlformats.org/officeDocument/2006/relationships/slideLayout" Target="../slideLayouts/slideLayout88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70.xml"/><Relationship Id="rId19" Type="http://schemas.openxmlformats.org/officeDocument/2006/relationships/slideLayout" Target="../slideLayouts/slideLayout79.xml"/><Relationship Id="rId31" Type="http://schemas.openxmlformats.org/officeDocument/2006/relationships/slideLayout" Target="../slideLayouts/slideLayout91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Relationship Id="rId22" Type="http://schemas.openxmlformats.org/officeDocument/2006/relationships/slideLayout" Target="../slideLayouts/slideLayout82.xml"/><Relationship Id="rId27" Type="http://schemas.openxmlformats.org/officeDocument/2006/relationships/slideLayout" Target="../slideLayouts/slideLayout87.xml"/><Relationship Id="rId30" Type="http://schemas.openxmlformats.org/officeDocument/2006/relationships/slideLayout" Target="../slideLayouts/slideLayout90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68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4.xml"/><Relationship Id="rId18" Type="http://schemas.openxmlformats.org/officeDocument/2006/relationships/slideLayout" Target="../slideLayouts/slideLayout109.xml"/><Relationship Id="rId26" Type="http://schemas.openxmlformats.org/officeDocument/2006/relationships/slideLayout" Target="../slideLayouts/slideLayout117.xml"/><Relationship Id="rId3" Type="http://schemas.openxmlformats.org/officeDocument/2006/relationships/slideLayout" Target="../slideLayouts/slideLayout94.xml"/><Relationship Id="rId21" Type="http://schemas.openxmlformats.org/officeDocument/2006/relationships/slideLayout" Target="../slideLayouts/slideLayout112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98.xml"/><Relationship Id="rId12" Type="http://schemas.openxmlformats.org/officeDocument/2006/relationships/slideLayout" Target="../slideLayouts/slideLayout103.xml"/><Relationship Id="rId17" Type="http://schemas.openxmlformats.org/officeDocument/2006/relationships/slideLayout" Target="../slideLayouts/slideLayout108.xml"/><Relationship Id="rId25" Type="http://schemas.openxmlformats.org/officeDocument/2006/relationships/slideLayout" Target="../slideLayouts/slideLayout116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93.xml"/><Relationship Id="rId16" Type="http://schemas.openxmlformats.org/officeDocument/2006/relationships/slideLayout" Target="../slideLayouts/slideLayout107.xml"/><Relationship Id="rId20" Type="http://schemas.openxmlformats.org/officeDocument/2006/relationships/slideLayout" Target="../slideLayouts/slideLayout111.xml"/><Relationship Id="rId29" Type="http://schemas.openxmlformats.org/officeDocument/2006/relationships/slideLayout" Target="../slideLayouts/slideLayout120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24" Type="http://schemas.openxmlformats.org/officeDocument/2006/relationships/slideLayout" Target="../slideLayouts/slideLayout115.xml"/><Relationship Id="rId32" Type="http://schemas.openxmlformats.org/officeDocument/2006/relationships/oleObject" Target="../embeddings/oleObject91.bin"/><Relationship Id="rId5" Type="http://schemas.openxmlformats.org/officeDocument/2006/relationships/slideLayout" Target="../slideLayouts/slideLayout96.xml"/><Relationship Id="rId15" Type="http://schemas.openxmlformats.org/officeDocument/2006/relationships/slideLayout" Target="../slideLayouts/slideLayout106.xml"/><Relationship Id="rId23" Type="http://schemas.openxmlformats.org/officeDocument/2006/relationships/slideLayout" Target="../slideLayouts/slideLayout114.xml"/><Relationship Id="rId28" Type="http://schemas.openxmlformats.org/officeDocument/2006/relationships/slideLayout" Target="../slideLayouts/slideLayout119.xml"/><Relationship Id="rId10" Type="http://schemas.openxmlformats.org/officeDocument/2006/relationships/slideLayout" Target="../slideLayouts/slideLayout101.xml"/><Relationship Id="rId19" Type="http://schemas.openxmlformats.org/officeDocument/2006/relationships/slideLayout" Target="../slideLayouts/slideLayout110.xml"/><Relationship Id="rId31" Type="http://schemas.openxmlformats.org/officeDocument/2006/relationships/tags" Target="../tags/tag185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Relationship Id="rId14" Type="http://schemas.openxmlformats.org/officeDocument/2006/relationships/slideLayout" Target="../slideLayouts/slideLayout105.xml"/><Relationship Id="rId22" Type="http://schemas.openxmlformats.org/officeDocument/2006/relationships/slideLayout" Target="../slideLayouts/slideLayout113.xml"/><Relationship Id="rId27" Type="http://schemas.openxmlformats.org/officeDocument/2006/relationships/slideLayout" Target="../slideLayouts/slideLayout118.xml"/><Relationship Id="rId30" Type="http://schemas.openxmlformats.org/officeDocument/2006/relationships/theme" Target="../theme/theme4.xml"/><Relationship Id="rId8" Type="http://schemas.openxmlformats.org/officeDocument/2006/relationships/slideLayout" Target="../slideLayouts/slideLayout99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3.xml"/><Relationship Id="rId18" Type="http://schemas.openxmlformats.org/officeDocument/2006/relationships/slideLayout" Target="../slideLayouts/slideLayout138.xml"/><Relationship Id="rId26" Type="http://schemas.openxmlformats.org/officeDocument/2006/relationships/slideLayout" Target="../slideLayouts/slideLayout146.xml"/><Relationship Id="rId3" Type="http://schemas.openxmlformats.org/officeDocument/2006/relationships/slideLayout" Target="../slideLayouts/slideLayout123.xml"/><Relationship Id="rId21" Type="http://schemas.openxmlformats.org/officeDocument/2006/relationships/slideLayout" Target="../slideLayouts/slideLayout14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127.xml"/><Relationship Id="rId12" Type="http://schemas.openxmlformats.org/officeDocument/2006/relationships/slideLayout" Target="../slideLayouts/slideLayout132.xml"/><Relationship Id="rId17" Type="http://schemas.openxmlformats.org/officeDocument/2006/relationships/slideLayout" Target="../slideLayouts/slideLayout137.xml"/><Relationship Id="rId25" Type="http://schemas.openxmlformats.org/officeDocument/2006/relationships/slideLayout" Target="../slideLayouts/slideLayout14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122.xml"/><Relationship Id="rId16" Type="http://schemas.openxmlformats.org/officeDocument/2006/relationships/slideLayout" Target="../slideLayouts/slideLayout136.xml"/><Relationship Id="rId20" Type="http://schemas.openxmlformats.org/officeDocument/2006/relationships/slideLayout" Target="../slideLayouts/slideLayout140.xml"/><Relationship Id="rId29" Type="http://schemas.openxmlformats.org/officeDocument/2006/relationships/slideLayout" Target="../slideLayouts/slideLayout149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24" Type="http://schemas.openxmlformats.org/officeDocument/2006/relationships/slideLayout" Target="../slideLayouts/slideLayout144.xml"/><Relationship Id="rId32" Type="http://schemas.openxmlformats.org/officeDocument/2006/relationships/oleObject" Target="../embeddings/oleObject121.bin"/><Relationship Id="rId5" Type="http://schemas.openxmlformats.org/officeDocument/2006/relationships/slideLayout" Target="../slideLayouts/slideLayout125.xml"/><Relationship Id="rId15" Type="http://schemas.openxmlformats.org/officeDocument/2006/relationships/slideLayout" Target="../slideLayouts/slideLayout135.xml"/><Relationship Id="rId23" Type="http://schemas.openxmlformats.org/officeDocument/2006/relationships/slideLayout" Target="../slideLayouts/slideLayout143.xml"/><Relationship Id="rId28" Type="http://schemas.openxmlformats.org/officeDocument/2006/relationships/slideLayout" Target="../slideLayouts/slideLayout148.xml"/><Relationship Id="rId10" Type="http://schemas.openxmlformats.org/officeDocument/2006/relationships/slideLayout" Target="../slideLayouts/slideLayout130.xml"/><Relationship Id="rId19" Type="http://schemas.openxmlformats.org/officeDocument/2006/relationships/slideLayout" Target="../slideLayouts/slideLayout139.xml"/><Relationship Id="rId31" Type="http://schemas.openxmlformats.org/officeDocument/2006/relationships/tags" Target="../tags/tag246.xml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Relationship Id="rId14" Type="http://schemas.openxmlformats.org/officeDocument/2006/relationships/slideLayout" Target="../slideLayouts/slideLayout134.xml"/><Relationship Id="rId22" Type="http://schemas.openxmlformats.org/officeDocument/2006/relationships/slideLayout" Target="../slideLayouts/slideLayout142.xml"/><Relationship Id="rId27" Type="http://schemas.openxmlformats.org/officeDocument/2006/relationships/slideLayout" Target="../slideLayouts/slideLayout147.xml"/><Relationship Id="rId30" Type="http://schemas.openxmlformats.org/officeDocument/2006/relationships/theme" Target="../theme/theme5.xml"/><Relationship Id="rId8" Type="http://schemas.openxmlformats.org/officeDocument/2006/relationships/slideLayout" Target="../slideLayouts/slideLayout128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2.xml"/><Relationship Id="rId18" Type="http://schemas.openxmlformats.org/officeDocument/2006/relationships/slideLayout" Target="../slideLayouts/slideLayout167.xml"/><Relationship Id="rId26" Type="http://schemas.openxmlformats.org/officeDocument/2006/relationships/slideLayout" Target="../slideLayouts/slideLayout175.xml"/><Relationship Id="rId3" Type="http://schemas.openxmlformats.org/officeDocument/2006/relationships/slideLayout" Target="../slideLayouts/slideLayout152.xml"/><Relationship Id="rId21" Type="http://schemas.openxmlformats.org/officeDocument/2006/relationships/slideLayout" Target="../slideLayouts/slideLayout170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156.xml"/><Relationship Id="rId12" Type="http://schemas.openxmlformats.org/officeDocument/2006/relationships/slideLayout" Target="../slideLayouts/slideLayout161.xml"/><Relationship Id="rId17" Type="http://schemas.openxmlformats.org/officeDocument/2006/relationships/slideLayout" Target="../slideLayouts/slideLayout166.xml"/><Relationship Id="rId25" Type="http://schemas.openxmlformats.org/officeDocument/2006/relationships/slideLayout" Target="../slideLayouts/slideLayout174.xml"/><Relationship Id="rId33" Type="http://schemas.openxmlformats.org/officeDocument/2006/relationships/oleObject" Target="../embeddings/oleObject151.bin"/><Relationship Id="rId2" Type="http://schemas.openxmlformats.org/officeDocument/2006/relationships/slideLayout" Target="../slideLayouts/slideLayout151.xml"/><Relationship Id="rId16" Type="http://schemas.openxmlformats.org/officeDocument/2006/relationships/slideLayout" Target="../slideLayouts/slideLayout165.xml"/><Relationship Id="rId20" Type="http://schemas.openxmlformats.org/officeDocument/2006/relationships/slideLayout" Target="../slideLayouts/slideLayout169.xml"/><Relationship Id="rId29" Type="http://schemas.openxmlformats.org/officeDocument/2006/relationships/slideLayout" Target="../slideLayouts/slideLayout178.xml"/><Relationship Id="rId1" Type="http://schemas.openxmlformats.org/officeDocument/2006/relationships/slideLayout" Target="../slideLayouts/slideLayout150.xml"/><Relationship Id="rId6" Type="http://schemas.openxmlformats.org/officeDocument/2006/relationships/slideLayout" Target="../slideLayouts/slideLayout155.xml"/><Relationship Id="rId11" Type="http://schemas.openxmlformats.org/officeDocument/2006/relationships/slideLayout" Target="../slideLayouts/slideLayout160.xml"/><Relationship Id="rId24" Type="http://schemas.openxmlformats.org/officeDocument/2006/relationships/slideLayout" Target="../slideLayouts/slideLayout173.xml"/><Relationship Id="rId32" Type="http://schemas.openxmlformats.org/officeDocument/2006/relationships/tags" Target="../tags/tag307.xml"/><Relationship Id="rId5" Type="http://schemas.openxmlformats.org/officeDocument/2006/relationships/slideLayout" Target="../slideLayouts/slideLayout154.xml"/><Relationship Id="rId15" Type="http://schemas.openxmlformats.org/officeDocument/2006/relationships/slideLayout" Target="../slideLayouts/slideLayout164.xml"/><Relationship Id="rId23" Type="http://schemas.openxmlformats.org/officeDocument/2006/relationships/slideLayout" Target="../slideLayouts/slideLayout172.xml"/><Relationship Id="rId28" Type="http://schemas.openxmlformats.org/officeDocument/2006/relationships/slideLayout" Target="../slideLayouts/slideLayout177.xml"/><Relationship Id="rId10" Type="http://schemas.openxmlformats.org/officeDocument/2006/relationships/slideLayout" Target="../slideLayouts/slideLayout159.xml"/><Relationship Id="rId19" Type="http://schemas.openxmlformats.org/officeDocument/2006/relationships/slideLayout" Target="../slideLayouts/slideLayout168.xml"/><Relationship Id="rId31" Type="http://schemas.openxmlformats.org/officeDocument/2006/relationships/theme" Target="../theme/theme6.xml"/><Relationship Id="rId4" Type="http://schemas.openxmlformats.org/officeDocument/2006/relationships/slideLayout" Target="../slideLayouts/slideLayout153.xml"/><Relationship Id="rId9" Type="http://schemas.openxmlformats.org/officeDocument/2006/relationships/slideLayout" Target="../slideLayouts/slideLayout158.xml"/><Relationship Id="rId14" Type="http://schemas.openxmlformats.org/officeDocument/2006/relationships/slideLayout" Target="../slideLayouts/slideLayout163.xml"/><Relationship Id="rId22" Type="http://schemas.openxmlformats.org/officeDocument/2006/relationships/slideLayout" Target="../slideLayouts/slideLayout171.xml"/><Relationship Id="rId27" Type="http://schemas.openxmlformats.org/officeDocument/2006/relationships/slideLayout" Target="../slideLayouts/slideLayout176.xml"/><Relationship Id="rId30" Type="http://schemas.openxmlformats.org/officeDocument/2006/relationships/slideLayout" Target="../slideLayouts/slideLayout179.xml"/><Relationship Id="rId35" Type="http://schemas.openxmlformats.org/officeDocument/2006/relationships/image" Target="../media/image2.png"/><Relationship Id="rId8" Type="http://schemas.openxmlformats.org/officeDocument/2006/relationships/slideLayout" Target="../slideLayouts/slideLayout15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A28F4B2-97A2-4892-B669-064E99FD7D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1045952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2" imgW="592" imgH="591" progId="TCLayout.ActiveDocument.1">
                  <p:embed/>
                </p:oleObj>
              </mc:Choice>
              <mc:Fallback>
                <p:oleObj name="Diapositiva de think-cell" r:id="rId32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A28F4B2-97A2-4892-B669-064E99FD7D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Group 14">
            <a:extLst>
              <a:ext uri="{FF2B5EF4-FFF2-40B4-BE49-F238E27FC236}">
                <a16:creationId xmlns:a16="http://schemas.microsoft.com/office/drawing/2014/main" id="{A7224355-4011-483F-BD4A-DBC418A112BE}"/>
              </a:ext>
            </a:extLst>
          </p:cNvPr>
          <p:cNvGrpSpPr/>
          <p:nvPr userDrawn="1"/>
        </p:nvGrpSpPr>
        <p:grpSpPr>
          <a:xfrm>
            <a:off x="182404" y="6464300"/>
            <a:ext cx="4708918" cy="221722"/>
            <a:chOff x="182404" y="6464300"/>
            <a:chExt cx="4708918" cy="221722"/>
          </a:xfrm>
        </p:grpSpPr>
        <p:sp>
          <p:nvSpPr>
            <p:cNvPr id="16" name="Rounded Rectangle 9">
              <a:extLst>
                <a:ext uri="{FF2B5EF4-FFF2-40B4-BE49-F238E27FC236}">
                  <a16:creationId xmlns:a16="http://schemas.microsoft.com/office/drawing/2014/main" id="{81EFD637-A4B4-4A9A-B057-70D1C688ED86}"/>
                </a:ext>
              </a:extLst>
            </p:cNvPr>
            <p:cNvSpPr/>
            <p:nvPr userDrawn="1"/>
          </p:nvSpPr>
          <p:spPr>
            <a:xfrm>
              <a:off x="3743242" y="6464300"/>
              <a:ext cx="1148080" cy="221722"/>
            </a:xfrm>
            <a:prstGeom prst="roundRect">
              <a:avLst/>
            </a:prstGeom>
            <a:solidFill>
              <a:srgbClr val="F692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 eaLnBrk="1"/>
              <a:endParaRPr lang="en-US" sz="1600">
                <a:solidFill>
                  <a:schemeClr val="bg1"/>
                </a:solidFill>
              </a:endParaRPr>
            </a:p>
          </p:txBody>
        </p:sp>
        <p:sp>
          <p:nvSpPr>
            <p:cNvPr id="17" name="Rounded Rectangle 9">
              <a:extLst>
                <a:ext uri="{FF2B5EF4-FFF2-40B4-BE49-F238E27FC236}">
                  <a16:creationId xmlns:a16="http://schemas.microsoft.com/office/drawing/2014/main" id="{93740D83-33DE-41E1-BFE5-62E342C8BEAC}"/>
                </a:ext>
              </a:extLst>
            </p:cNvPr>
            <p:cNvSpPr/>
            <p:nvPr userDrawn="1"/>
          </p:nvSpPr>
          <p:spPr>
            <a:xfrm>
              <a:off x="2552617" y="6464300"/>
              <a:ext cx="1148080" cy="221722"/>
            </a:xfrm>
            <a:prstGeom prst="round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 eaLnBrk="1"/>
              <a:endParaRPr lang="en-US" sz="1600">
                <a:solidFill>
                  <a:schemeClr val="bg1"/>
                </a:solidFill>
              </a:endParaRPr>
            </a:p>
          </p:txBody>
        </p:sp>
        <p:sp>
          <p:nvSpPr>
            <p:cNvPr id="18" name="Rounded Rectangle 11">
              <a:extLst>
                <a:ext uri="{FF2B5EF4-FFF2-40B4-BE49-F238E27FC236}">
                  <a16:creationId xmlns:a16="http://schemas.microsoft.com/office/drawing/2014/main" id="{0A14B5C3-C8DA-4EF1-B8BB-315F58FE437F}"/>
                </a:ext>
              </a:extLst>
            </p:cNvPr>
            <p:cNvSpPr/>
            <p:nvPr userDrawn="1"/>
          </p:nvSpPr>
          <p:spPr>
            <a:xfrm>
              <a:off x="1366112" y="6464300"/>
              <a:ext cx="1148080" cy="221722"/>
            </a:xfrm>
            <a:prstGeom prst="round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 eaLnBrk="1"/>
              <a:endParaRPr lang="en-US" sz="1600">
                <a:solidFill>
                  <a:schemeClr val="bg1"/>
                </a:solidFill>
              </a:endParaRPr>
            </a:p>
          </p:txBody>
        </p:sp>
        <p:sp>
          <p:nvSpPr>
            <p:cNvPr id="19" name="Rounded Rectangle 13">
              <a:extLst>
                <a:ext uri="{FF2B5EF4-FFF2-40B4-BE49-F238E27FC236}">
                  <a16:creationId xmlns:a16="http://schemas.microsoft.com/office/drawing/2014/main" id="{D97C217B-1608-48ED-ABB2-3205FE2C91ED}"/>
                </a:ext>
              </a:extLst>
            </p:cNvPr>
            <p:cNvSpPr/>
            <p:nvPr userDrawn="1"/>
          </p:nvSpPr>
          <p:spPr>
            <a:xfrm>
              <a:off x="182404" y="6464300"/>
              <a:ext cx="1148080" cy="221722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 eaLnBrk="1"/>
              <a:endParaRPr lang="en-US" sz="1600">
                <a:solidFill>
                  <a:schemeClr val="bg1"/>
                </a:solidFill>
              </a:endParaRPr>
            </a:p>
          </p:txBody>
        </p:sp>
      </p:grpSp>
      <p:sp>
        <p:nvSpPr>
          <p:cNvPr id="26" name="Title Placeholder 1"/>
          <p:cNvSpPr txBox="1">
            <a:spLocks/>
          </p:cNvSpPr>
          <p:nvPr userDrawn="1"/>
        </p:nvSpPr>
        <p:spPr>
          <a:xfrm>
            <a:off x="311873" y="207732"/>
            <a:ext cx="10069255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>
                <a:solidFill>
                  <a:schemeClr val="tx1"/>
                </a:solidFill>
              </a:rPr>
              <a:t>LLA GREEN</a:t>
            </a:r>
            <a:r>
              <a:rPr lang="en-US" sz="2400" baseline="0">
                <a:solidFill>
                  <a:schemeClr val="tx1"/>
                </a:solidFill>
              </a:rPr>
              <a:t> SLIDES – FINANCE US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08080" y="155393"/>
            <a:ext cx="678613" cy="823855"/>
          </a:xfrm>
          <a:prstGeom prst="rect">
            <a:avLst/>
          </a:prstGeom>
          <a:effectLst/>
        </p:spPr>
      </p:pic>
      <p:sp>
        <p:nvSpPr>
          <p:cNvPr id="25" name="Rectangle 24"/>
          <p:cNvSpPr/>
          <p:nvPr userDrawn="1"/>
        </p:nvSpPr>
        <p:spPr>
          <a:xfrm>
            <a:off x="0" y="6575301"/>
            <a:ext cx="12191999" cy="2826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0" y="6560530"/>
            <a:ext cx="12192000" cy="0"/>
          </a:xfrm>
          <a:prstGeom prst="line">
            <a:avLst/>
          </a:prstGeom>
          <a:ln w="3810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 userDrawn="1"/>
        </p:nvSpPr>
        <p:spPr>
          <a:xfrm>
            <a:off x="0" y="-1"/>
            <a:ext cx="11201401" cy="10058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2662844" y="6591301"/>
            <a:ext cx="6866312" cy="266700"/>
          </a:xfrm>
          <a:prstGeom prst="rect">
            <a:avLst/>
          </a:prstGeom>
          <a:noFill/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>
                <a:solidFill>
                  <a:srgbClr val="FF0000"/>
                </a:solidFill>
              </a:rPr>
              <a:t>CONFIDENTIAL – NOT FOR DISTRIBUTION</a:t>
            </a:r>
          </a:p>
        </p:txBody>
      </p:sp>
    </p:spTree>
    <p:extLst>
      <p:ext uri="{BB962C8B-B14F-4D97-AF65-F5344CB8AC3E}">
        <p14:creationId xmlns:p14="http://schemas.microsoft.com/office/powerpoint/2010/main" val="3150899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824" r:id="rId28"/>
    <p:sldLayoutId id="2147483825" r:id="rId2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A28F4B2-97A2-4892-B669-064E99FD7D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17732517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4" imgW="592" imgH="591" progId="TCLayout.ActiveDocument.1">
                  <p:embed/>
                </p:oleObj>
              </mc:Choice>
              <mc:Fallback>
                <p:oleObj name="Diapositiva de think-cell" r:id="rId3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A28F4B2-97A2-4892-B669-064E99FD7D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Group 14">
            <a:extLst>
              <a:ext uri="{FF2B5EF4-FFF2-40B4-BE49-F238E27FC236}">
                <a16:creationId xmlns:a16="http://schemas.microsoft.com/office/drawing/2014/main" id="{A7224355-4011-483F-BD4A-DBC418A112BE}"/>
              </a:ext>
            </a:extLst>
          </p:cNvPr>
          <p:cNvGrpSpPr/>
          <p:nvPr userDrawn="1"/>
        </p:nvGrpSpPr>
        <p:grpSpPr>
          <a:xfrm>
            <a:off x="182404" y="6464300"/>
            <a:ext cx="4708918" cy="221722"/>
            <a:chOff x="182404" y="6464300"/>
            <a:chExt cx="4708918" cy="221722"/>
          </a:xfrm>
        </p:grpSpPr>
        <p:sp>
          <p:nvSpPr>
            <p:cNvPr id="16" name="Rounded Rectangle 9">
              <a:extLst>
                <a:ext uri="{FF2B5EF4-FFF2-40B4-BE49-F238E27FC236}">
                  <a16:creationId xmlns:a16="http://schemas.microsoft.com/office/drawing/2014/main" id="{81EFD637-A4B4-4A9A-B057-70D1C688ED86}"/>
                </a:ext>
              </a:extLst>
            </p:cNvPr>
            <p:cNvSpPr/>
            <p:nvPr userDrawn="1"/>
          </p:nvSpPr>
          <p:spPr>
            <a:xfrm>
              <a:off x="3743242" y="6464300"/>
              <a:ext cx="1148080" cy="221722"/>
            </a:xfrm>
            <a:prstGeom prst="roundRect">
              <a:avLst/>
            </a:prstGeom>
            <a:solidFill>
              <a:srgbClr val="F692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 eaLnBrk="1">
                <a:defRPr/>
              </a:pPr>
              <a:endParaRPr lang="en-US" sz="1600">
                <a:solidFill>
                  <a:srgbClr val="FFFFFF"/>
                </a:solidFill>
              </a:endParaRPr>
            </a:p>
          </p:txBody>
        </p:sp>
        <p:sp>
          <p:nvSpPr>
            <p:cNvPr id="17" name="Rounded Rectangle 9">
              <a:extLst>
                <a:ext uri="{FF2B5EF4-FFF2-40B4-BE49-F238E27FC236}">
                  <a16:creationId xmlns:a16="http://schemas.microsoft.com/office/drawing/2014/main" id="{93740D83-33DE-41E1-BFE5-62E342C8BEAC}"/>
                </a:ext>
              </a:extLst>
            </p:cNvPr>
            <p:cNvSpPr/>
            <p:nvPr userDrawn="1"/>
          </p:nvSpPr>
          <p:spPr>
            <a:xfrm>
              <a:off x="2552617" y="6464300"/>
              <a:ext cx="1148080" cy="221722"/>
            </a:xfrm>
            <a:prstGeom prst="round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 eaLnBrk="1">
                <a:defRPr/>
              </a:pPr>
              <a:endParaRPr lang="en-US" sz="1600">
                <a:solidFill>
                  <a:srgbClr val="FFFFFF"/>
                </a:solidFill>
              </a:endParaRPr>
            </a:p>
          </p:txBody>
        </p:sp>
        <p:sp>
          <p:nvSpPr>
            <p:cNvPr id="18" name="Rounded Rectangle 11">
              <a:extLst>
                <a:ext uri="{FF2B5EF4-FFF2-40B4-BE49-F238E27FC236}">
                  <a16:creationId xmlns:a16="http://schemas.microsoft.com/office/drawing/2014/main" id="{0A14B5C3-C8DA-4EF1-B8BB-315F58FE437F}"/>
                </a:ext>
              </a:extLst>
            </p:cNvPr>
            <p:cNvSpPr/>
            <p:nvPr userDrawn="1"/>
          </p:nvSpPr>
          <p:spPr>
            <a:xfrm>
              <a:off x="1366112" y="6464300"/>
              <a:ext cx="1148080" cy="221722"/>
            </a:xfrm>
            <a:prstGeom prst="round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 eaLnBrk="1">
                <a:defRPr/>
              </a:pPr>
              <a:endParaRPr lang="en-US" sz="1600">
                <a:solidFill>
                  <a:srgbClr val="FFFFFF"/>
                </a:solidFill>
              </a:endParaRPr>
            </a:p>
          </p:txBody>
        </p:sp>
        <p:sp>
          <p:nvSpPr>
            <p:cNvPr id="19" name="Rounded Rectangle 13">
              <a:extLst>
                <a:ext uri="{FF2B5EF4-FFF2-40B4-BE49-F238E27FC236}">
                  <a16:creationId xmlns:a16="http://schemas.microsoft.com/office/drawing/2014/main" id="{D97C217B-1608-48ED-ABB2-3205FE2C91ED}"/>
                </a:ext>
              </a:extLst>
            </p:cNvPr>
            <p:cNvSpPr/>
            <p:nvPr userDrawn="1"/>
          </p:nvSpPr>
          <p:spPr>
            <a:xfrm>
              <a:off x="182404" y="6464300"/>
              <a:ext cx="1148080" cy="221722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 eaLnBrk="1">
                <a:defRPr/>
              </a:pPr>
              <a:endParaRPr lang="en-US" sz="1600">
                <a:solidFill>
                  <a:srgbClr val="FFFFFF"/>
                </a:solidFill>
              </a:endParaRPr>
            </a:p>
          </p:txBody>
        </p:sp>
      </p:grpSp>
      <p:sp>
        <p:nvSpPr>
          <p:cNvPr id="26" name="Title Placeholder 1"/>
          <p:cNvSpPr txBox="1">
            <a:spLocks/>
          </p:cNvSpPr>
          <p:nvPr userDrawn="1"/>
        </p:nvSpPr>
        <p:spPr>
          <a:xfrm>
            <a:off x="311873" y="207732"/>
            <a:ext cx="10069255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2400">
                <a:solidFill>
                  <a:srgbClr val="3E3838"/>
                </a:solidFill>
              </a:rPr>
              <a:t>LLA GREEN SLIDES – FINANCE US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08080" y="155393"/>
            <a:ext cx="678613" cy="823855"/>
          </a:xfrm>
          <a:prstGeom prst="rect">
            <a:avLst/>
          </a:prstGeom>
          <a:effectLst/>
        </p:spPr>
      </p:pic>
      <p:sp>
        <p:nvSpPr>
          <p:cNvPr id="25" name="Rectangle 24"/>
          <p:cNvSpPr/>
          <p:nvPr userDrawn="1"/>
        </p:nvSpPr>
        <p:spPr>
          <a:xfrm>
            <a:off x="0" y="6575301"/>
            <a:ext cx="12191999" cy="2826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1600">
              <a:solidFill>
                <a:srgbClr val="FFFFFF"/>
              </a:solidFill>
            </a:endParaRP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0" y="6560530"/>
            <a:ext cx="12192000" cy="0"/>
          </a:xfrm>
          <a:prstGeom prst="line">
            <a:avLst/>
          </a:prstGeom>
          <a:ln w="3810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 userDrawn="1"/>
        </p:nvSpPr>
        <p:spPr>
          <a:xfrm>
            <a:off x="0" y="-1"/>
            <a:ext cx="11201401" cy="10058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2662844" y="6591301"/>
            <a:ext cx="6866312" cy="266700"/>
          </a:xfrm>
          <a:prstGeom prst="rect">
            <a:avLst/>
          </a:prstGeom>
          <a:noFill/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1000" b="1">
                <a:solidFill>
                  <a:srgbClr val="FF0000"/>
                </a:solidFill>
              </a:rPr>
              <a:t>CONFIDENTIAL – NOT FOR DISTRIBUTION</a:t>
            </a:r>
          </a:p>
        </p:txBody>
      </p:sp>
    </p:spTree>
    <p:extLst>
      <p:ext uri="{BB962C8B-B14F-4D97-AF65-F5344CB8AC3E}">
        <p14:creationId xmlns:p14="http://schemas.microsoft.com/office/powerpoint/2010/main" val="8776093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  <p:sldLayoutId id="2147483708" r:id="rId15"/>
    <p:sldLayoutId id="2147483709" r:id="rId16"/>
    <p:sldLayoutId id="2147483710" r:id="rId17"/>
    <p:sldLayoutId id="2147483711" r:id="rId18"/>
    <p:sldLayoutId id="2147483712" r:id="rId19"/>
    <p:sldLayoutId id="2147483713" r:id="rId20"/>
    <p:sldLayoutId id="2147483714" r:id="rId21"/>
    <p:sldLayoutId id="2147483715" r:id="rId22"/>
    <p:sldLayoutId id="2147483716" r:id="rId23"/>
    <p:sldLayoutId id="2147483717" r:id="rId24"/>
    <p:sldLayoutId id="2147483718" r:id="rId25"/>
    <p:sldLayoutId id="2147483719" r:id="rId26"/>
    <p:sldLayoutId id="2147483720" r:id="rId27"/>
    <p:sldLayoutId id="2147483721" r:id="rId28"/>
    <p:sldLayoutId id="2147483723" r:id="rId29"/>
    <p:sldLayoutId id="2147483724" r:id="rId30"/>
    <p:sldLayoutId id="2147483725" r:id="rId3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A28F4B2-97A2-4892-B669-064E99FD7D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5716873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4" imgW="592" imgH="591" progId="TCLayout.ActiveDocument.1">
                  <p:embed/>
                </p:oleObj>
              </mc:Choice>
              <mc:Fallback>
                <p:oleObj name="Diapositiva de think-cell" r:id="rId3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A28F4B2-97A2-4892-B669-064E99FD7D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Group 14">
            <a:extLst>
              <a:ext uri="{FF2B5EF4-FFF2-40B4-BE49-F238E27FC236}">
                <a16:creationId xmlns:a16="http://schemas.microsoft.com/office/drawing/2014/main" id="{A7224355-4011-483F-BD4A-DBC418A112BE}"/>
              </a:ext>
            </a:extLst>
          </p:cNvPr>
          <p:cNvGrpSpPr/>
          <p:nvPr userDrawn="1"/>
        </p:nvGrpSpPr>
        <p:grpSpPr>
          <a:xfrm>
            <a:off x="182404" y="6464300"/>
            <a:ext cx="4708918" cy="221722"/>
            <a:chOff x="182404" y="6464300"/>
            <a:chExt cx="4708918" cy="221722"/>
          </a:xfrm>
        </p:grpSpPr>
        <p:sp>
          <p:nvSpPr>
            <p:cNvPr id="16" name="Rounded Rectangle 9">
              <a:extLst>
                <a:ext uri="{FF2B5EF4-FFF2-40B4-BE49-F238E27FC236}">
                  <a16:creationId xmlns:a16="http://schemas.microsoft.com/office/drawing/2014/main" id="{81EFD637-A4B4-4A9A-B057-70D1C688ED86}"/>
                </a:ext>
              </a:extLst>
            </p:cNvPr>
            <p:cNvSpPr/>
            <p:nvPr userDrawn="1"/>
          </p:nvSpPr>
          <p:spPr>
            <a:xfrm>
              <a:off x="3743242" y="6464300"/>
              <a:ext cx="1148080" cy="221722"/>
            </a:xfrm>
            <a:prstGeom prst="roundRect">
              <a:avLst/>
            </a:prstGeom>
            <a:solidFill>
              <a:srgbClr val="F692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 eaLnBrk="1">
                <a:defRPr/>
              </a:pPr>
              <a:endParaRPr lang="en-US" sz="1600">
                <a:solidFill>
                  <a:srgbClr val="FFFFFF"/>
                </a:solidFill>
              </a:endParaRPr>
            </a:p>
          </p:txBody>
        </p:sp>
        <p:sp>
          <p:nvSpPr>
            <p:cNvPr id="17" name="Rounded Rectangle 9">
              <a:extLst>
                <a:ext uri="{FF2B5EF4-FFF2-40B4-BE49-F238E27FC236}">
                  <a16:creationId xmlns:a16="http://schemas.microsoft.com/office/drawing/2014/main" id="{93740D83-33DE-41E1-BFE5-62E342C8BEAC}"/>
                </a:ext>
              </a:extLst>
            </p:cNvPr>
            <p:cNvSpPr/>
            <p:nvPr userDrawn="1"/>
          </p:nvSpPr>
          <p:spPr>
            <a:xfrm>
              <a:off x="2552617" y="6464300"/>
              <a:ext cx="1148080" cy="221722"/>
            </a:xfrm>
            <a:prstGeom prst="round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 eaLnBrk="1">
                <a:defRPr/>
              </a:pPr>
              <a:endParaRPr lang="en-US" sz="1600">
                <a:solidFill>
                  <a:srgbClr val="FFFFFF"/>
                </a:solidFill>
              </a:endParaRPr>
            </a:p>
          </p:txBody>
        </p:sp>
        <p:sp>
          <p:nvSpPr>
            <p:cNvPr id="18" name="Rounded Rectangle 11">
              <a:extLst>
                <a:ext uri="{FF2B5EF4-FFF2-40B4-BE49-F238E27FC236}">
                  <a16:creationId xmlns:a16="http://schemas.microsoft.com/office/drawing/2014/main" id="{0A14B5C3-C8DA-4EF1-B8BB-315F58FE437F}"/>
                </a:ext>
              </a:extLst>
            </p:cNvPr>
            <p:cNvSpPr/>
            <p:nvPr userDrawn="1"/>
          </p:nvSpPr>
          <p:spPr>
            <a:xfrm>
              <a:off x="1366112" y="6464300"/>
              <a:ext cx="1148080" cy="221722"/>
            </a:xfrm>
            <a:prstGeom prst="round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 eaLnBrk="1">
                <a:defRPr/>
              </a:pPr>
              <a:endParaRPr lang="en-US" sz="1600">
                <a:solidFill>
                  <a:srgbClr val="FFFFFF"/>
                </a:solidFill>
              </a:endParaRPr>
            </a:p>
          </p:txBody>
        </p:sp>
        <p:sp>
          <p:nvSpPr>
            <p:cNvPr id="19" name="Rounded Rectangle 13">
              <a:extLst>
                <a:ext uri="{FF2B5EF4-FFF2-40B4-BE49-F238E27FC236}">
                  <a16:creationId xmlns:a16="http://schemas.microsoft.com/office/drawing/2014/main" id="{D97C217B-1608-48ED-ABB2-3205FE2C91ED}"/>
                </a:ext>
              </a:extLst>
            </p:cNvPr>
            <p:cNvSpPr/>
            <p:nvPr userDrawn="1"/>
          </p:nvSpPr>
          <p:spPr>
            <a:xfrm>
              <a:off x="182404" y="6464300"/>
              <a:ext cx="1148080" cy="221722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 eaLnBrk="1">
                <a:defRPr/>
              </a:pPr>
              <a:endParaRPr lang="en-US" sz="1600">
                <a:solidFill>
                  <a:srgbClr val="FFFFFF"/>
                </a:solidFill>
              </a:endParaRPr>
            </a:p>
          </p:txBody>
        </p:sp>
      </p:grpSp>
      <p:sp>
        <p:nvSpPr>
          <p:cNvPr id="26" name="Title Placeholder 1"/>
          <p:cNvSpPr txBox="1">
            <a:spLocks/>
          </p:cNvSpPr>
          <p:nvPr userDrawn="1"/>
        </p:nvSpPr>
        <p:spPr>
          <a:xfrm>
            <a:off x="311873" y="207732"/>
            <a:ext cx="10069255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2400">
                <a:solidFill>
                  <a:srgbClr val="3E3838"/>
                </a:solidFill>
              </a:rPr>
              <a:t>LLA GREEN SLIDES – FINANCE US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08080" y="155393"/>
            <a:ext cx="678613" cy="823855"/>
          </a:xfrm>
          <a:prstGeom prst="rect">
            <a:avLst/>
          </a:prstGeom>
          <a:effectLst/>
        </p:spPr>
      </p:pic>
      <p:sp>
        <p:nvSpPr>
          <p:cNvPr id="25" name="Rectangle 24"/>
          <p:cNvSpPr/>
          <p:nvPr userDrawn="1"/>
        </p:nvSpPr>
        <p:spPr>
          <a:xfrm>
            <a:off x="0" y="6575301"/>
            <a:ext cx="12191999" cy="2826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1600">
              <a:solidFill>
                <a:srgbClr val="FFFFFF"/>
              </a:solidFill>
            </a:endParaRP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0" y="6560530"/>
            <a:ext cx="12192000" cy="0"/>
          </a:xfrm>
          <a:prstGeom prst="line">
            <a:avLst/>
          </a:prstGeom>
          <a:ln w="3810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 userDrawn="1"/>
        </p:nvSpPr>
        <p:spPr>
          <a:xfrm>
            <a:off x="0" y="-1"/>
            <a:ext cx="11201401" cy="10058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>
              <a:defRPr/>
            </a:pPr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2662844" y="6591301"/>
            <a:ext cx="6866312" cy="266700"/>
          </a:xfrm>
          <a:prstGeom prst="rect">
            <a:avLst/>
          </a:prstGeom>
          <a:noFill/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1000" b="1">
                <a:solidFill>
                  <a:srgbClr val="FF0000"/>
                </a:solidFill>
              </a:rPr>
              <a:t>CONFIDENTIAL – NOT FOR DISTRIBUTION</a:t>
            </a:r>
          </a:p>
        </p:txBody>
      </p:sp>
    </p:spTree>
    <p:extLst>
      <p:ext uri="{BB962C8B-B14F-4D97-AF65-F5344CB8AC3E}">
        <p14:creationId xmlns:p14="http://schemas.microsoft.com/office/powerpoint/2010/main" val="10292439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  <p:sldLayoutId id="2147483739" r:id="rId13"/>
    <p:sldLayoutId id="2147483740" r:id="rId14"/>
    <p:sldLayoutId id="2147483741" r:id="rId15"/>
    <p:sldLayoutId id="2147483742" r:id="rId16"/>
    <p:sldLayoutId id="2147483743" r:id="rId17"/>
    <p:sldLayoutId id="2147483744" r:id="rId18"/>
    <p:sldLayoutId id="2147483745" r:id="rId19"/>
    <p:sldLayoutId id="2147483746" r:id="rId20"/>
    <p:sldLayoutId id="2147483747" r:id="rId21"/>
    <p:sldLayoutId id="2147483748" r:id="rId22"/>
    <p:sldLayoutId id="2147483749" r:id="rId23"/>
    <p:sldLayoutId id="2147483750" r:id="rId24"/>
    <p:sldLayoutId id="2147483751" r:id="rId25"/>
    <p:sldLayoutId id="2147483752" r:id="rId26"/>
    <p:sldLayoutId id="2147483753" r:id="rId27"/>
    <p:sldLayoutId id="2147483754" r:id="rId28"/>
    <p:sldLayoutId id="2147483756" r:id="rId29"/>
    <p:sldLayoutId id="2147483757" r:id="rId30"/>
    <p:sldLayoutId id="2147483758" r:id="rId3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A28F4B2-97A2-4892-B669-064E99FD7D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1212329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2" imgW="592" imgH="591" progId="TCLayout.ActiveDocument.1">
                  <p:embed/>
                </p:oleObj>
              </mc:Choice>
              <mc:Fallback>
                <p:oleObj name="Diapositiva de think-cell" r:id="rId32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A28F4B2-97A2-4892-B669-064E99FD7D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Group 14">
            <a:extLst>
              <a:ext uri="{FF2B5EF4-FFF2-40B4-BE49-F238E27FC236}">
                <a16:creationId xmlns:a16="http://schemas.microsoft.com/office/drawing/2014/main" id="{A7224355-4011-483F-BD4A-DBC418A112BE}"/>
              </a:ext>
            </a:extLst>
          </p:cNvPr>
          <p:cNvGrpSpPr/>
          <p:nvPr userDrawn="1"/>
        </p:nvGrpSpPr>
        <p:grpSpPr>
          <a:xfrm>
            <a:off x="182404" y="6464300"/>
            <a:ext cx="4708918" cy="221722"/>
            <a:chOff x="182404" y="6464300"/>
            <a:chExt cx="4708918" cy="221722"/>
          </a:xfrm>
        </p:grpSpPr>
        <p:sp>
          <p:nvSpPr>
            <p:cNvPr id="16" name="Rounded Rectangle 9">
              <a:extLst>
                <a:ext uri="{FF2B5EF4-FFF2-40B4-BE49-F238E27FC236}">
                  <a16:creationId xmlns:a16="http://schemas.microsoft.com/office/drawing/2014/main" id="{81EFD637-A4B4-4A9A-B057-70D1C688ED86}"/>
                </a:ext>
              </a:extLst>
            </p:cNvPr>
            <p:cNvSpPr/>
            <p:nvPr userDrawn="1"/>
          </p:nvSpPr>
          <p:spPr>
            <a:xfrm>
              <a:off x="3743242" y="6464300"/>
              <a:ext cx="1148080" cy="221722"/>
            </a:xfrm>
            <a:prstGeom prst="roundRect">
              <a:avLst/>
            </a:prstGeom>
            <a:solidFill>
              <a:srgbClr val="F692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 eaLnBrk="1"/>
              <a:endParaRPr lang="en-US" sz="1600">
                <a:solidFill>
                  <a:schemeClr val="bg1"/>
                </a:solidFill>
              </a:endParaRPr>
            </a:p>
          </p:txBody>
        </p:sp>
        <p:sp>
          <p:nvSpPr>
            <p:cNvPr id="17" name="Rounded Rectangle 9">
              <a:extLst>
                <a:ext uri="{FF2B5EF4-FFF2-40B4-BE49-F238E27FC236}">
                  <a16:creationId xmlns:a16="http://schemas.microsoft.com/office/drawing/2014/main" id="{93740D83-33DE-41E1-BFE5-62E342C8BEAC}"/>
                </a:ext>
              </a:extLst>
            </p:cNvPr>
            <p:cNvSpPr/>
            <p:nvPr userDrawn="1"/>
          </p:nvSpPr>
          <p:spPr>
            <a:xfrm>
              <a:off x="2552617" y="6464300"/>
              <a:ext cx="1148080" cy="221722"/>
            </a:xfrm>
            <a:prstGeom prst="round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 eaLnBrk="1"/>
              <a:endParaRPr lang="en-US" sz="1600">
                <a:solidFill>
                  <a:schemeClr val="bg1"/>
                </a:solidFill>
              </a:endParaRPr>
            </a:p>
          </p:txBody>
        </p:sp>
        <p:sp>
          <p:nvSpPr>
            <p:cNvPr id="18" name="Rounded Rectangle 11">
              <a:extLst>
                <a:ext uri="{FF2B5EF4-FFF2-40B4-BE49-F238E27FC236}">
                  <a16:creationId xmlns:a16="http://schemas.microsoft.com/office/drawing/2014/main" id="{0A14B5C3-C8DA-4EF1-B8BB-315F58FE437F}"/>
                </a:ext>
              </a:extLst>
            </p:cNvPr>
            <p:cNvSpPr/>
            <p:nvPr userDrawn="1"/>
          </p:nvSpPr>
          <p:spPr>
            <a:xfrm>
              <a:off x="1366112" y="6464300"/>
              <a:ext cx="1148080" cy="221722"/>
            </a:xfrm>
            <a:prstGeom prst="round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 eaLnBrk="1"/>
              <a:endParaRPr lang="en-US" sz="1600">
                <a:solidFill>
                  <a:schemeClr val="bg1"/>
                </a:solidFill>
              </a:endParaRPr>
            </a:p>
          </p:txBody>
        </p:sp>
        <p:sp>
          <p:nvSpPr>
            <p:cNvPr id="19" name="Rounded Rectangle 13">
              <a:extLst>
                <a:ext uri="{FF2B5EF4-FFF2-40B4-BE49-F238E27FC236}">
                  <a16:creationId xmlns:a16="http://schemas.microsoft.com/office/drawing/2014/main" id="{D97C217B-1608-48ED-ABB2-3205FE2C91ED}"/>
                </a:ext>
              </a:extLst>
            </p:cNvPr>
            <p:cNvSpPr/>
            <p:nvPr userDrawn="1"/>
          </p:nvSpPr>
          <p:spPr>
            <a:xfrm>
              <a:off x="182404" y="6464300"/>
              <a:ext cx="1148080" cy="221722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 eaLnBrk="1"/>
              <a:endParaRPr lang="en-US" sz="1600">
                <a:solidFill>
                  <a:schemeClr val="bg1"/>
                </a:solidFill>
              </a:endParaRPr>
            </a:p>
          </p:txBody>
        </p:sp>
      </p:grpSp>
      <p:sp>
        <p:nvSpPr>
          <p:cNvPr id="26" name="Title Placeholder 1"/>
          <p:cNvSpPr txBox="1">
            <a:spLocks/>
          </p:cNvSpPr>
          <p:nvPr userDrawn="1"/>
        </p:nvSpPr>
        <p:spPr>
          <a:xfrm>
            <a:off x="311873" y="207732"/>
            <a:ext cx="10069255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>
                <a:solidFill>
                  <a:schemeClr val="tx1"/>
                </a:solidFill>
              </a:rPr>
              <a:t>LLA GREEN</a:t>
            </a:r>
            <a:r>
              <a:rPr lang="en-US" sz="2400" baseline="0">
                <a:solidFill>
                  <a:schemeClr val="tx1"/>
                </a:solidFill>
              </a:rPr>
              <a:t> SLIDES – FINANCE US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08080" y="155393"/>
            <a:ext cx="678613" cy="823855"/>
          </a:xfrm>
          <a:prstGeom prst="rect">
            <a:avLst/>
          </a:prstGeom>
          <a:effectLst/>
        </p:spPr>
      </p:pic>
      <p:sp>
        <p:nvSpPr>
          <p:cNvPr id="25" name="Rectangle 24"/>
          <p:cNvSpPr/>
          <p:nvPr userDrawn="1"/>
        </p:nvSpPr>
        <p:spPr>
          <a:xfrm>
            <a:off x="0" y="6575301"/>
            <a:ext cx="12191999" cy="2826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0" y="6560530"/>
            <a:ext cx="12192000" cy="0"/>
          </a:xfrm>
          <a:prstGeom prst="line">
            <a:avLst/>
          </a:prstGeom>
          <a:ln w="3810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 userDrawn="1"/>
        </p:nvSpPr>
        <p:spPr>
          <a:xfrm>
            <a:off x="0" y="-1"/>
            <a:ext cx="11201401" cy="10058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2662844" y="6591301"/>
            <a:ext cx="6866312" cy="266700"/>
          </a:xfrm>
          <a:prstGeom prst="rect">
            <a:avLst/>
          </a:prstGeom>
          <a:noFill/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>
                <a:solidFill>
                  <a:srgbClr val="FF0000"/>
                </a:solidFill>
              </a:rPr>
              <a:t>CONFIDENTIAL – NOT FOR DISTRIBUTION</a:t>
            </a:r>
          </a:p>
        </p:txBody>
      </p:sp>
    </p:spTree>
    <p:extLst>
      <p:ext uri="{BB962C8B-B14F-4D97-AF65-F5344CB8AC3E}">
        <p14:creationId xmlns:p14="http://schemas.microsoft.com/office/powerpoint/2010/main" val="42301971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71" r:id="rId11"/>
    <p:sldLayoutId id="2147483772" r:id="rId12"/>
    <p:sldLayoutId id="2147483773" r:id="rId13"/>
    <p:sldLayoutId id="2147483774" r:id="rId14"/>
    <p:sldLayoutId id="2147483775" r:id="rId15"/>
    <p:sldLayoutId id="2147483776" r:id="rId16"/>
    <p:sldLayoutId id="2147483777" r:id="rId17"/>
    <p:sldLayoutId id="2147483778" r:id="rId18"/>
    <p:sldLayoutId id="2147483779" r:id="rId19"/>
    <p:sldLayoutId id="2147483780" r:id="rId20"/>
    <p:sldLayoutId id="2147483781" r:id="rId21"/>
    <p:sldLayoutId id="2147483782" r:id="rId22"/>
    <p:sldLayoutId id="2147483783" r:id="rId23"/>
    <p:sldLayoutId id="2147483784" r:id="rId24"/>
    <p:sldLayoutId id="2147483785" r:id="rId25"/>
    <p:sldLayoutId id="2147483786" r:id="rId26"/>
    <p:sldLayoutId id="2147483787" r:id="rId27"/>
    <p:sldLayoutId id="2147483788" r:id="rId28"/>
    <p:sldLayoutId id="2147483789" r:id="rId2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A28F4B2-97A2-4892-B669-064E99FD7D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3213532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2" imgW="592" imgH="591" progId="TCLayout.ActiveDocument.1">
                  <p:embed/>
                </p:oleObj>
              </mc:Choice>
              <mc:Fallback>
                <p:oleObj name="Diapositiva de think-cell" r:id="rId32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A28F4B2-97A2-4892-B669-064E99FD7D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Group 14">
            <a:extLst>
              <a:ext uri="{FF2B5EF4-FFF2-40B4-BE49-F238E27FC236}">
                <a16:creationId xmlns:a16="http://schemas.microsoft.com/office/drawing/2014/main" id="{A7224355-4011-483F-BD4A-DBC418A112BE}"/>
              </a:ext>
            </a:extLst>
          </p:cNvPr>
          <p:cNvGrpSpPr/>
          <p:nvPr userDrawn="1"/>
        </p:nvGrpSpPr>
        <p:grpSpPr>
          <a:xfrm>
            <a:off x="182404" y="6464300"/>
            <a:ext cx="4708918" cy="221722"/>
            <a:chOff x="182404" y="6464300"/>
            <a:chExt cx="4708918" cy="221722"/>
          </a:xfrm>
        </p:grpSpPr>
        <p:sp>
          <p:nvSpPr>
            <p:cNvPr id="16" name="Rounded Rectangle 9">
              <a:extLst>
                <a:ext uri="{FF2B5EF4-FFF2-40B4-BE49-F238E27FC236}">
                  <a16:creationId xmlns:a16="http://schemas.microsoft.com/office/drawing/2014/main" id="{81EFD637-A4B4-4A9A-B057-70D1C688ED86}"/>
                </a:ext>
              </a:extLst>
            </p:cNvPr>
            <p:cNvSpPr/>
            <p:nvPr userDrawn="1"/>
          </p:nvSpPr>
          <p:spPr>
            <a:xfrm>
              <a:off x="3743242" y="6464300"/>
              <a:ext cx="1148080" cy="221722"/>
            </a:xfrm>
            <a:prstGeom prst="roundRect">
              <a:avLst/>
            </a:prstGeom>
            <a:solidFill>
              <a:srgbClr val="F692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 eaLnBrk="1"/>
              <a:endParaRPr lang="en-US" sz="1600">
                <a:solidFill>
                  <a:schemeClr val="bg1"/>
                </a:solidFill>
              </a:endParaRPr>
            </a:p>
          </p:txBody>
        </p:sp>
        <p:sp>
          <p:nvSpPr>
            <p:cNvPr id="17" name="Rounded Rectangle 9">
              <a:extLst>
                <a:ext uri="{FF2B5EF4-FFF2-40B4-BE49-F238E27FC236}">
                  <a16:creationId xmlns:a16="http://schemas.microsoft.com/office/drawing/2014/main" id="{93740D83-33DE-41E1-BFE5-62E342C8BEAC}"/>
                </a:ext>
              </a:extLst>
            </p:cNvPr>
            <p:cNvSpPr/>
            <p:nvPr userDrawn="1"/>
          </p:nvSpPr>
          <p:spPr>
            <a:xfrm>
              <a:off x="2552617" y="6464300"/>
              <a:ext cx="1148080" cy="221722"/>
            </a:xfrm>
            <a:prstGeom prst="round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 eaLnBrk="1"/>
              <a:endParaRPr lang="en-US" sz="1600">
                <a:solidFill>
                  <a:schemeClr val="bg1"/>
                </a:solidFill>
              </a:endParaRPr>
            </a:p>
          </p:txBody>
        </p:sp>
        <p:sp>
          <p:nvSpPr>
            <p:cNvPr id="18" name="Rounded Rectangle 11">
              <a:extLst>
                <a:ext uri="{FF2B5EF4-FFF2-40B4-BE49-F238E27FC236}">
                  <a16:creationId xmlns:a16="http://schemas.microsoft.com/office/drawing/2014/main" id="{0A14B5C3-C8DA-4EF1-B8BB-315F58FE437F}"/>
                </a:ext>
              </a:extLst>
            </p:cNvPr>
            <p:cNvSpPr/>
            <p:nvPr userDrawn="1"/>
          </p:nvSpPr>
          <p:spPr>
            <a:xfrm>
              <a:off x="1366112" y="6464300"/>
              <a:ext cx="1148080" cy="221722"/>
            </a:xfrm>
            <a:prstGeom prst="round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 eaLnBrk="1"/>
              <a:endParaRPr lang="en-US" sz="1600">
                <a:solidFill>
                  <a:schemeClr val="bg1"/>
                </a:solidFill>
              </a:endParaRPr>
            </a:p>
          </p:txBody>
        </p:sp>
        <p:sp>
          <p:nvSpPr>
            <p:cNvPr id="19" name="Rounded Rectangle 13">
              <a:extLst>
                <a:ext uri="{FF2B5EF4-FFF2-40B4-BE49-F238E27FC236}">
                  <a16:creationId xmlns:a16="http://schemas.microsoft.com/office/drawing/2014/main" id="{D97C217B-1608-48ED-ABB2-3205FE2C91ED}"/>
                </a:ext>
              </a:extLst>
            </p:cNvPr>
            <p:cNvSpPr/>
            <p:nvPr userDrawn="1"/>
          </p:nvSpPr>
          <p:spPr>
            <a:xfrm>
              <a:off x="182404" y="6464300"/>
              <a:ext cx="1148080" cy="221722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 eaLnBrk="1"/>
              <a:endParaRPr lang="en-US" sz="1600">
                <a:solidFill>
                  <a:schemeClr val="bg1"/>
                </a:solidFill>
              </a:endParaRPr>
            </a:p>
          </p:txBody>
        </p:sp>
      </p:grpSp>
      <p:sp>
        <p:nvSpPr>
          <p:cNvPr id="26" name="Title Placeholder 1"/>
          <p:cNvSpPr txBox="1">
            <a:spLocks/>
          </p:cNvSpPr>
          <p:nvPr userDrawn="1"/>
        </p:nvSpPr>
        <p:spPr>
          <a:xfrm>
            <a:off x="311873" y="207732"/>
            <a:ext cx="10069255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>
                <a:solidFill>
                  <a:schemeClr val="tx1"/>
                </a:solidFill>
              </a:rPr>
              <a:t>LLA GREEN</a:t>
            </a:r>
            <a:r>
              <a:rPr lang="en-US" sz="2400" baseline="0">
                <a:solidFill>
                  <a:schemeClr val="tx1"/>
                </a:solidFill>
              </a:rPr>
              <a:t> SLIDES – FINANCE US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08080" y="155393"/>
            <a:ext cx="678613" cy="823855"/>
          </a:xfrm>
          <a:prstGeom prst="rect">
            <a:avLst/>
          </a:prstGeom>
          <a:effectLst/>
        </p:spPr>
      </p:pic>
      <p:sp>
        <p:nvSpPr>
          <p:cNvPr id="25" name="Rectangle 24"/>
          <p:cNvSpPr/>
          <p:nvPr userDrawn="1"/>
        </p:nvSpPr>
        <p:spPr>
          <a:xfrm>
            <a:off x="0" y="6575301"/>
            <a:ext cx="12191999" cy="2826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0" y="6560530"/>
            <a:ext cx="12192000" cy="0"/>
          </a:xfrm>
          <a:prstGeom prst="line">
            <a:avLst/>
          </a:prstGeom>
          <a:ln w="3810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 userDrawn="1"/>
        </p:nvSpPr>
        <p:spPr>
          <a:xfrm>
            <a:off x="0" y="-1"/>
            <a:ext cx="11201401" cy="10058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2662844" y="6591301"/>
            <a:ext cx="6866312" cy="266700"/>
          </a:xfrm>
          <a:prstGeom prst="rect">
            <a:avLst/>
          </a:prstGeom>
          <a:noFill/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>
                <a:solidFill>
                  <a:srgbClr val="FF0000"/>
                </a:solidFill>
              </a:rPr>
              <a:t>CONFIDENTIAL – NOT FOR DISTRIBUTION</a:t>
            </a:r>
          </a:p>
        </p:txBody>
      </p:sp>
    </p:spTree>
    <p:extLst>
      <p:ext uri="{BB962C8B-B14F-4D97-AF65-F5344CB8AC3E}">
        <p14:creationId xmlns:p14="http://schemas.microsoft.com/office/powerpoint/2010/main" val="3768547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  <p:sldLayoutId id="2147483797" r:id="rId6"/>
    <p:sldLayoutId id="2147483798" r:id="rId7"/>
    <p:sldLayoutId id="2147483799" r:id="rId8"/>
    <p:sldLayoutId id="2147483800" r:id="rId9"/>
    <p:sldLayoutId id="2147483801" r:id="rId10"/>
    <p:sldLayoutId id="2147483802" r:id="rId11"/>
    <p:sldLayoutId id="2147483803" r:id="rId12"/>
    <p:sldLayoutId id="2147483804" r:id="rId13"/>
    <p:sldLayoutId id="2147483805" r:id="rId14"/>
    <p:sldLayoutId id="2147483806" r:id="rId15"/>
    <p:sldLayoutId id="2147483807" r:id="rId16"/>
    <p:sldLayoutId id="2147483808" r:id="rId17"/>
    <p:sldLayoutId id="2147483809" r:id="rId18"/>
    <p:sldLayoutId id="2147483810" r:id="rId19"/>
    <p:sldLayoutId id="2147483811" r:id="rId20"/>
    <p:sldLayoutId id="2147483812" r:id="rId21"/>
    <p:sldLayoutId id="2147483813" r:id="rId22"/>
    <p:sldLayoutId id="2147483814" r:id="rId23"/>
    <p:sldLayoutId id="2147483815" r:id="rId24"/>
    <p:sldLayoutId id="2147483816" r:id="rId25"/>
    <p:sldLayoutId id="2147483817" r:id="rId26"/>
    <p:sldLayoutId id="2147483818" r:id="rId27"/>
    <p:sldLayoutId id="2147483819" r:id="rId28"/>
    <p:sldLayoutId id="2147483820" r:id="rId2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A28F4B2-97A2-4892-B669-064E99FD7D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361211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3" imgW="592" imgH="591" progId="TCLayout.ActiveDocument.1">
                  <p:embed/>
                </p:oleObj>
              </mc:Choice>
              <mc:Fallback>
                <p:oleObj name="Diapositiva de think-cell" r:id="rId33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A28F4B2-97A2-4892-B669-064E99FD7D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Group 14">
            <a:extLst>
              <a:ext uri="{FF2B5EF4-FFF2-40B4-BE49-F238E27FC236}">
                <a16:creationId xmlns:a16="http://schemas.microsoft.com/office/drawing/2014/main" id="{A7224355-4011-483F-BD4A-DBC418A112BE}"/>
              </a:ext>
            </a:extLst>
          </p:cNvPr>
          <p:cNvGrpSpPr/>
          <p:nvPr userDrawn="1"/>
        </p:nvGrpSpPr>
        <p:grpSpPr>
          <a:xfrm>
            <a:off x="182404" y="6464300"/>
            <a:ext cx="4708918" cy="221722"/>
            <a:chOff x="182404" y="6464300"/>
            <a:chExt cx="4708918" cy="221722"/>
          </a:xfrm>
        </p:grpSpPr>
        <p:sp>
          <p:nvSpPr>
            <p:cNvPr id="16" name="Rounded Rectangle 9">
              <a:extLst>
                <a:ext uri="{FF2B5EF4-FFF2-40B4-BE49-F238E27FC236}">
                  <a16:creationId xmlns:a16="http://schemas.microsoft.com/office/drawing/2014/main" id="{81EFD637-A4B4-4A9A-B057-70D1C688ED86}"/>
                </a:ext>
              </a:extLst>
            </p:cNvPr>
            <p:cNvSpPr/>
            <p:nvPr userDrawn="1"/>
          </p:nvSpPr>
          <p:spPr>
            <a:xfrm>
              <a:off x="3743242" y="6464300"/>
              <a:ext cx="1148080" cy="221722"/>
            </a:xfrm>
            <a:prstGeom prst="roundRect">
              <a:avLst/>
            </a:prstGeom>
            <a:solidFill>
              <a:srgbClr val="F692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 eaLnBrk="1"/>
              <a:endParaRPr lang="en-US" sz="1600">
                <a:solidFill>
                  <a:schemeClr val="bg1"/>
                </a:solidFill>
              </a:endParaRPr>
            </a:p>
          </p:txBody>
        </p:sp>
        <p:sp>
          <p:nvSpPr>
            <p:cNvPr id="17" name="Rounded Rectangle 9">
              <a:extLst>
                <a:ext uri="{FF2B5EF4-FFF2-40B4-BE49-F238E27FC236}">
                  <a16:creationId xmlns:a16="http://schemas.microsoft.com/office/drawing/2014/main" id="{93740D83-33DE-41E1-BFE5-62E342C8BEAC}"/>
                </a:ext>
              </a:extLst>
            </p:cNvPr>
            <p:cNvSpPr/>
            <p:nvPr userDrawn="1"/>
          </p:nvSpPr>
          <p:spPr>
            <a:xfrm>
              <a:off x="2552617" y="6464300"/>
              <a:ext cx="1148080" cy="221722"/>
            </a:xfrm>
            <a:prstGeom prst="round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 eaLnBrk="1"/>
              <a:endParaRPr lang="en-US" sz="1600">
                <a:solidFill>
                  <a:schemeClr val="bg1"/>
                </a:solidFill>
              </a:endParaRPr>
            </a:p>
          </p:txBody>
        </p:sp>
        <p:sp>
          <p:nvSpPr>
            <p:cNvPr id="18" name="Rounded Rectangle 11">
              <a:extLst>
                <a:ext uri="{FF2B5EF4-FFF2-40B4-BE49-F238E27FC236}">
                  <a16:creationId xmlns:a16="http://schemas.microsoft.com/office/drawing/2014/main" id="{0A14B5C3-C8DA-4EF1-B8BB-315F58FE437F}"/>
                </a:ext>
              </a:extLst>
            </p:cNvPr>
            <p:cNvSpPr/>
            <p:nvPr userDrawn="1"/>
          </p:nvSpPr>
          <p:spPr>
            <a:xfrm>
              <a:off x="1366112" y="6464300"/>
              <a:ext cx="1148080" cy="221722"/>
            </a:xfrm>
            <a:prstGeom prst="round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 eaLnBrk="1"/>
              <a:endParaRPr lang="en-US" sz="1600">
                <a:solidFill>
                  <a:schemeClr val="bg1"/>
                </a:solidFill>
              </a:endParaRPr>
            </a:p>
          </p:txBody>
        </p:sp>
        <p:sp>
          <p:nvSpPr>
            <p:cNvPr id="19" name="Rounded Rectangle 13">
              <a:extLst>
                <a:ext uri="{FF2B5EF4-FFF2-40B4-BE49-F238E27FC236}">
                  <a16:creationId xmlns:a16="http://schemas.microsoft.com/office/drawing/2014/main" id="{D97C217B-1608-48ED-ABB2-3205FE2C91ED}"/>
                </a:ext>
              </a:extLst>
            </p:cNvPr>
            <p:cNvSpPr/>
            <p:nvPr userDrawn="1"/>
          </p:nvSpPr>
          <p:spPr>
            <a:xfrm>
              <a:off x="182404" y="6464300"/>
              <a:ext cx="1148080" cy="221722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 eaLnBrk="1"/>
              <a:endParaRPr lang="en-US" sz="1600">
                <a:solidFill>
                  <a:schemeClr val="bg1"/>
                </a:solidFill>
              </a:endParaRPr>
            </a:p>
          </p:txBody>
        </p:sp>
      </p:grpSp>
      <p:sp>
        <p:nvSpPr>
          <p:cNvPr id="26" name="Title Placeholder 1"/>
          <p:cNvSpPr txBox="1">
            <a:spLocks/>
          </p:cNvSpPr>
          <p:nvPr userDrawn="1"/>
        </p:nvSpPr>
        <p:spPr>
          <a:xfrm>
            <a:off x="311873" y="207732"/>
            <a:ext cx="10069255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>
                <a:solidFill>
                  <a:schemeClr val="tx1"/>
                </a:solidFill>
              </a:rPr>
              <a:t>LLA GREEN</a:t>
            </a:r>
            <a:r>
              <a:rPr lang="en-US" sz="2400" baseline="0">
                <a:solidFill>
                  <a:schemeClr val="tx1"/>
                </a:solidFill>
              </a:rPr>
              <a:t> SLIDES – FINANCE US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08080" y="155393"/>
            <a:ext cx="678613" cy="823855"/>
          </a:xfrm>
          <a:prstGeom prst="rect">
            <a:avLst/>
          </a:prstGeom>
          <a:effectLst/>
        </p:spPr>
      </p:pic>
      <p:sp>
        <p:nvSpPr>
          <p:cNvPr id="25" name="Rectangle 24"/>
          <p:cNvSpPr/>
          <p:nvPr userDrawn="1"/>
        </p:nvSpPr>
        <p:spPr>
          <a:xfrm>
            <a:off x="0" y="6575301"/>
            <a:ext cx="12191999" cy="2826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0" y="6560530"/>
            <a:ext cx="12192000" cy="0"/>
          </a:xfrm>
          <a:prstGeom prst="line">
            <a:avLst/>
          </a:prstGeom>
          <a:ln w="3810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 userDrawn="1"/>
        </p:nvSpPr>
        <p:spPr>
          <a:xfrm>
            <a:off x="0" y="-1"/>
            <a:ext cx="11201401" cy="10058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/>
          <a:lstStyle/>
          <a:p>
            <a:pPr algn="ctr" eaLnBrk="1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2662844" y="6591301"/>
            <a:ext cx="6866312" cy="266700"/>
          </a:xfrm>
          <a:prstGeom prst="rect">
            <a:avLst/>
          </a:prstGeom>
          <a:noFill/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>
                <a:solidFill>
                  <a:srgbClr val="FF0000"/>
                </a:solidFill>
              </a:rPr>
              <a:t>CONFIDENTIAL – NOT FOR DISTRIBUTION</a:t>
            </a:r>
          </a:p>
        </p:txBody>
      </p:sp>
    </p:spTree>
    <p:extLst>
      <p:ext uri="{BB962C8B-B14F-4D97-AF65-F5344CB8AC3E}">
        <p14:creationId xmlns:p14="http://schemas.microsoft.com/office/powerpoint/2010/main" val="2842742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  <p:sldLayoutId id="2147483832" r:id="rId6"/>
    <p:sldLayoutId id="2147483833" r:id="rId7"/>
    <p:sldLayoutId id="2147483834" r:id="rId8"/>
    <p:sldLayoutId id="2147483835" r:id="rId9"/>
    <p:sldLayoutId id="2147483836" r:id="rId10"/>
    <p:sldLayoutId id="2147483837" r:id="rId11"/>
    <p:sldLayoutId id="2147483838" r:id="rId12"/>
    <p:sldLayoutId id="2147483839" r:id="rId13"/>
    <p:sldLayoutId id="2147483840" r:id="rId14"/>
    <p:sldLayoutId id="2147483841" r:id="rId15"/>
    <p:sldLayoutId id="2147483842" r:id="rId16"/>
    <p:sldLayoutId id="2147483843" r:id="rId17"/>
    <p:sldLayoutId id="2147483844" r:id="rId18"/>
    <p:sldLayoutId id="2147483845" r:id="rId19"/>
    <p:sldLayoutId id="2147483846" r:id="rId20"/>
    <p:sldLayoutId id="2147483847" r:id="rId21"/>
    <p:sldLayoutId id="2147483848" r:id="rId22"/>
    <p:sldLayoutId id="2147483849" r:id="rId23"/>
    <p:sldLayoutId id="2147483850" r:id="rId24"/>
    <p:sldLayoutId id="2147483851" r:id="rId25"/>
    <p:sldLayoutId id="2147483852" r:id="rId26"/>
    <p:sldLayoutId id="2147483853" r:id="rId27"/>
    <p:sldLayoutId id="2147483854" r:id="rId28"/>
    <p:sldLayoutId id="2147483856" r:id="rId29"/>
    <p:sldLayoutId id="2147483857" r:id="rId3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svg"/><Relationship Id="rId3" Type="http://schemas.openxmlformats.org/officeDocument/2006/relationships/oleObject" Target="../embeddings/oleObject180.bin"/><Relationship Id="rId7" Type="http://schemas.openxmlformats.org/officeDocument/2006/relationships/image" Target="../media/image18.svg"/><Relationship Id="rId12" Type="http://schemas.openxmlformats.org/officeDocument/2006/relationships/image" Target="../media/image23.png"/><Relationship Id="rId17" Type="http://schemas.openxmlformats.org/officeDocument/2006/relationships/image" Target="../media/image28.svg"/><Relationship Id="rId2" Type="http://schemas.openxmlformats.org/officeDocument/2006/relationships/slideLayout" Target="../slideLayouts/slideLayout28.xml"/><Relationship Id="rId16" Type="http://schemas.openxmlformats.org/officeDocument/2006/relationships/image" Target="../media/image27.png"/><Relationship Id="rId1" Type="http://schemas.openxmlformats.org/officeDocument/2006/relationships/tags" Target="../tags/tag366.xml"/><Relationship Id="rId6" Type="http://schemas.openxmlformats.org/officeDocument/2006/relationships/image" Target="../media/image17.png"/><Relationship Id="rId11" Type="http://schemas.openxmlformats.org/officeDocument/2006/relationships/image" Target="../media/image22.svg"/><Relationship Id="rId5" Type="http://schemas.openxmlformats.org/officeDocument/2006/relationships/image" Target="../media/image16.jpeg"/><Relationship Id="rId15" Type="http://schemas.openxmlformats.org/officeDocument/2006/relationships/image" Target="../media/image26.svg"/><Relationship Id="rId10" Type="http://schemas.openxmlformats.org/officeDocument/2006/relationships/image" Target="../media/image21.png"/><Relationship Id="rId4" Type="http://schemas.openxmlformats.org/officeDocument/2006/relationships/image" Target="../media/image15.emf"/><Relationship Id="rId9" Type="http://schemas.openxmlformats.org/officeDocument/2006/relationships/image" Target="../media/image20.svg"/><Relationship Id="rId14" Type="http://schemas.openxmlformats.org/officeDocument/2006/relationships/image" Target="../media/image2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9.bin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388.xml"/><Relationship Id="rId5" Type="http://schemas.openxmlformats.org/officeDocument/2006/relationships/image" Target="../media/image48.jpeg"/><Relationship Id="rId4" Type="http://schemas.openxmlformats.org/officeDocument/2006/relationships/image" Target="../media/image15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0.bin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389.xml"/><Relationship Id="rId5" Type="http://schemas.openxmlformats.org/officeDocument/2006/relationships/image" Target="../media/image49.png"/><Relationship Id="rId4" Type="http://schemas.openxmlformats.org/officeDocument/2006/relationships/image" Target="../media/image15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51.jpg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390.xml"/><Relationship Id="rId6" Type="http://schemas.openxmlformats.org/officeDocument/2006/relationships/image" Target="../media/image50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9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1.bin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367.xml"/><Relationship Id="rId6" Type="http://schemas.openxmlformats.org/officeDocument/2006/relationships/hyperlink" Target="https://www.linkedin.com/in/serore/" TargetMode="External"/><Relationship Id="rId5" Type="http://schemas.openxmlformats.org/officeDocument/2006/relationships/image" Target="../media/image29.jpeg"/><Relationship Id="rId4" Type="http://schemas.openxmlformats.org/officeDocument/2006/relationships/image" Target="../media/image15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1.jpeg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368.xml"/><Relationship Id="rId6" Type="http://schemas.openxmlformats.org/officeDocument/2006/relationships/image" Target="../media/image30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82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369.xml"/><Relationship Id="rId6" Type="http://schemas.openxmlformats.org/officeDocument/2006/relationships/image" Target="../media/image33.jpg"/><Relationship Id="rId5" Type="http://schemas.openxmlformats.org/officeDocument/2006/relationships/image" Target="../media/image15.emf"/><Relationship Id="rId10" Type="http://schemas.openxmlformats.org/officeDocument/2006/relationships/image" Target="../media/image35.svg"/><Relationship Id="rId4" Type="http://schemas.openxmlformats.org/officeDocument/2006/relationships/oleObject" Target="../embeddings/oleObject183.bin"/><Relationship Id="rId9" Type="http://schemas.openxmlformats.org/officeDocument/2006/relationships/image" Target="../media/image3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oleObject" Target="../embeddings/oleObject184.bin"/><Relationship Id="rId7" Type="http://schemas.openxmlformats.org/officeDocument/2006/relationships/image" Target="../media/image38.svg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370.xml"/><Relationship Id="rId6" Type="http://schemas.openxmlformats.org/officeDocument/2006/relationships/image" Target="../media/image37.png"/><Relationship Id="rId5" Type="http://schemas.openxmlformats.org/officeDocument/2006/relationships/image" Target="../media/image36.jpg"/><Relationship Id="rId4" Type="http://schemas.openxmlformats.org/officeDocument/2006/relationships/image" Target="../media/image15.emf"/><Relationship Id="rId9" Type="http://schemas.openxmlformats.org/officeDocument/2006/relationships/image" Target="../media/image40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42.png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371.xml"/><Relationship Id="rId6" Type="http://schemas.openxmlformats.org/officeDocument/2006/relationships/image" Target="../media/image41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85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379.xml"/><Relationship Id="rId13" Type="http://schemas.openxmlformats.org/officeDocument/2006/relationships/tags" Target="../tags/tag384.xml"/><Relationship Id="rId18" Type="http://schemas.openxmlformats.org/officeDocument/2006/relationships/image" Target="../media/image15.emf"/><Relationship Id="rId3" Type="http://schemas.openxmlformats.org/officeDocument/2006/relationships/tags" Target="../tags/tag374.xml"/><Relationship Id="rId7" Type="http://schemas.openxmlformats.org/officeDocument/2006/relationships/tags" Target="../tags/tag378.xml"/><Relationship Id="rId12" Type="http://schemas.openxmlformats.org/officeDocument/2006/relationships/tags" Target="../tags/tag383.xml"/><Relationship Id="rId17" Type="http://schemas.openxmlformats.org/officeDocument/2006/relationships/oleObject" Target="../embeddings/oleObject186.bin"/><Relationship Id="rId2" Type="http://schemas.openxmlformats.org/officeDocument/2006/relationships/tags" Target="../tags/tag373.xml"/><Relationship Id="rId16" Type="http://schemas.openxmlformats.org/officeDocument/2006/relationships/notesSlide" Target="../notesSlides/notesSlide4.xml"/><Relationship Id="rId1" Type="http://schemas.openxmlformats.org/officeDocument/2006/relationships/tags" Target="../tags/tag372.xml"/><Relationship Id="rId6" Type="http://schemas.openxmlformats.org/officeDocument/2006/relationships/tags" Target="../tags/tag377.xml"/><Relationship Id="rId11" Type="http://schemas.openxmlformats.org/officeDocument/2006/relationships/tags" Target="../tags/tag382.xml"/><Relationship Id="rId5" Type="http://schemas.openxmlformats.org/officeDocument/2006/relationships/tags" Target="../tags/tag376.xml"/><Relationship Id="rId15" Type="http://schemas.openxmlformats.org/officeDocument/2006/relationships/slideLayout" Target="../slideLayouts/slideLayout28.xml"/><Relationship Id="rId10" Type="http://schemas.openxmlformats.org/officeDocument/2006/relationships/tags" Target="../tags/tag381.xml"/><Relationship Id="rId19" Type="http://schemas.openxmlformats.org/officeDocument/2006/relationships/chart" Target="../charts/chart1.xml"/><Relationship Id="rId4" Type="http://schemas.openxmlformats.org/officeDocument/2006/relationships/tags" Target="../tags/tag375.xml"/><Relationship Id="rId9" Type="http://schemas.openxmlformats.org/officeDocument/2006/relationships/tags" Target="../tags/tag380.xml"/><Relationship Id="rId14" Type="http://schemas.openxmlformats.org/officeDocument/2006/relationships/tags" Target="../tags/tag38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svg"/><Relationship Id="rId3" Type="http://schemas.openxmlformats.org/officeDocument/2006/relationships/oleObject" Target="../embeddings/oleObject187.bin"/><Relationship Id="rId7" Type="http://schemas.openxmlformats.org/officeDocument/2006/relationships/image" Target="../media/image45.png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386.xml"/><Relationship Id="rId6" Type="http://schemas.openxmlformats.org/officeDocument/2006/relationships/image" Target="../media/image44.svg"/><Relationship Id="rId5" Type="http://schemas.openxmlformats.org/officeDocument/2006/relationships/image" Target="../media/image43.png"/><Relationship Id="rId4" Type="http://schemas.openxmlformats.org/officeDocument/2006/relationships/image" Target="../media/image15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387.xml"/><Relationship Id="rId6" Type="http://schemas.openxmlformats.org/officeDocument/2006/relationships/image" Target="../media/image47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8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8E4ECC02-619B-EA1A-E03A-B07DB3E549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830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21" imgH="423" progId="TCLayout.ActiveDocument.1">
                  <p:embed/>
                </p:oleObj>
              </mc:Choice>
              <mc:Fallback>
                <p:oleObj name="Diapositiva de think-cell" r:id="rId3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Imagen 14" descr="Un par de personas de pie&#10;&#10;Descripción generada automáticamente con confianza baja">
            <a:extLst>
              <a:ext uri="{FF2B5EF4-FFF2-40B4-BE49-F238E27FC236}">
                <a16:creationId xmlns:a16="http://schemas.microsoft.com/office/drawing/2014/main" id="{E7D87646-B600-B915-9C7B-8711F96D83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72" y="-33468"/>
            <a:ext cx="12994373" cy="6822046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E63C6305-A6BB-F7BB-A258-41174BFBC4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64159" y="3906242"/>
            <a:ext cx="3897896" cy="643168"/>
          </a:xfrm>
        </p:spPr>
        <p:txBody>
          <a:bodyPr vert="horz"/>
          <a:lstStyle/>
          <a:p>
            <a:r>
              <a:rPr lang="es-ES_tradnl" sz="5000" dirty="0" err="1">
                <a:solidFill>
                  <a:schemeClr val="bg1"/>
                </a:solidFill>
              </a:rPr>
              <a:t>Wi</a:t>
            </a:r>
            <a:r>
              <a:rPr lang="es-ES_tradnl" sz="5000" dirty="0">
                <a:solidFill>
                  <a:schemeClr val="bg1"/>
                </a:solidFill>
              </a:rPr>
              <a:t>-Fi </a:t>
            </a:r>
            <a:r>
              <a:rPr lang="es-ES_tradnl" sz="5000" dirty="0" err="1">
                <a:solidFill>
                  <a:schemeClr val="bg1"/>
                </a:solidFill>
              </a:rPr>
              <a:t>Forever</a:t>
            </a:r>
            <a:endParaRPr lang="es-ES_tradnl" sz="5000" dirty="0">
              <a:solidFill>
                <a:schemeClr val="bg1"/>
              </a:solidFill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75B2E61E-0144-DA6E-0C65-6E5ECE594E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96097A3-845D-4C79-9B10-713A18711759}" type="slidenum">
              <a:rPr lang="en-US" smtClean="0"/>
              <a:pPr/>
              <a:t>1</a:t>
            </a:fld>
            <a:endParaRPr lang="en-US"/>
          </a:p>
        </p:txBody>
      </p:sp>
      <p:pic>
        <p:nvPicPr>
          <p:cNvPr id="17" name="Gráfico 16" descr="Wi-Fi con relleno sólido">
            <a:extLst>
              <a:ext uri="{FF2B5EF4-FFF2-40B4-BE49-F238E27FC236}">
                <a16:creationId xmlns:a16="http://schemas.microsoft.com/office/drawing/2014/main" id="{E15B6EA0-8E3D-7F9F-EB15-8F597834487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14070" y="-133352"/>
            <a:ext cx="2172362" cy="2172362"/>
          </a:xfrm>
          <a:prstGeom prst="rect">
            <a:avLst/>
          </a:prstGeom>
        </p:spPr>
      </p:pic>
      <p:pic>
        <p:nvPicPr>
          <p:cNvPr id="19" name="Gráfico 18" descr="Wi-Fi contorno">
            <a:extLst>
              <a:ext uri="{FF2B5EF4-FFF2-40B4-BE49-F238E27FC236}">
                <a16:creationId xmlns:a16="http://schemas.microsoft.com/office/drawing/2014/main" id="{BEADB235-1E7B-08F8-B2ED-3C445679496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805254" y="5766395"/>
            <a:ext cx="914400" cy="914400"/>
          </a:xfrm>
          <a:prstGeom prst="rect">
            <a:avLst/>
          </a:prstGeom>
        </p:spPr>
      </p:pic>
      <p:pic>
        <p:nvPicPr>
          <p:cNvPr id="21" name="Gráfico 20" descr="Enrutador inalámbrico contorno">
            <a:extLst>
              <a:ext uri="{FF2B5EF4-FFF2-40B4-BE49-F238E27FC236}">
                <a16:creationId xmlns:a16="http://schemas.microsoft.com/office/drawing/2014/main" id="{CBBBD83F-FFCF-634E-EA6A-21034C6ECDB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298907" y="1494864"/>
            <a:ext cx="914400" cy="914400"/>
          </a:xfrm>
          <a:prstGeom prst="rect">
            <a:avLst/>
          </a:prstGeom>
        </p:spPr>
      </p:pic>
      <p:pic>
        <p:nvPicPr>
          <p:cNvPr id="23" name="Gráfico 22" descr="Enrutador inalámbrico con relleno sólido">
            <a:extLst>
              <a:ext uri="{FF2B5EF4-FFF2-40B4-BE49-F238E27FC236}">
                <a16:creationId xmlns:a16="http://schemas.microsoft.com/office/drawing/2014/main" id="{3C014773-7937-011F-2EDB-2C9D07D7970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744541" y="1944708"/>
            <a:ext cx="914400" cy="914400"/>
          </a:xfrm>
          <a:prstGeom prst="rect">
            <a:avLst/>
          </a:prstGeom>
        </p:spPr>
      </p:pic>
      <p:pic>
        <p:nvPicPr>
          <p:cNvPr id="25" name="Gráfico 24" descr="Inalámbrico con relleno sólido">
            <a:extLst>
              <a:ext uri="{FF2B5EF4-FFF2-40B4-BE49-F238E27FC236}">
                <a16:creationId xmlns:a16="http://schemas.microsoft.com/office/drawing/2014/main" id="{BFCA038B-240D-BFF3-8057-89B9EB59402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269793" y="1526338"/>
            <a:ext cx="914400" cy="914400"/>
          </a:xfrm>
          <a:prstGeom prst="rect">
            <a:avLst/>
          </a:prstGeom>
        </p:spPr>
      </p:pic>
      <p:pic>
        <p:nvPicPr>
          <p:cNvPr id="27" name="Gráfico 26" descr="Inalámbrico contorno">
            <a:extLst>
              <a:ext uri="{FF2B5EF4-FFF2-40B4-BE49-F238E27FC236}">
                <a16:creationId xmlns:a16="http://schemas.microsoft.com/office/drawing/2014/main" id="{330EA3BC-F35B-9F17-45F3-C9B5E93707F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816349" y="2039010"/>
            <a:ext cx="914400" cy="914400"/>
          </a:xfrm>
          <a:prstGeom prst="rect">
            <a:avLst/>
          </a:prstGeom>
        </p:spPr>
      </p:pic>
      <p:pic>
        <p:nvPicPr>
          <p:cNvPr id="35" name="Gráfico 34" descr="Enrutador inalámbrico contorno">
            <a:extLst>
              <a:ext uri="{FF2B5EF4-FFF2-40B4-BE49-F238E27FC236}">
                <a16:creationId xmlns:a16="http://schemas.microsoft.com/office/drawing/2014/main" id="{01E31C41-3759-2011-5558-BC23226BB6E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75859" y="1944708"/>
            <a:ext cx="914400" cy="914400"/>
          </a:xfrm>
          <a:prstGeom prst="rect">
            <a:avLst/>
          </a:prstGeom>
        </p:spPr>
      </p:pic>
      <p:pic>
        <p:nvPicPr>
          <p:cNvPr id="36" name="Gráfico 35" descr="Enrutador inalámbrico con relleno sólido">
            <a:extLst>
              <a:ext uri="{FF2B5EF4-FFF2-40B4-BE49-F238E27FC236}">
                <a16:creationId xmlns:a16="http://schemas.microsoft.com/office/drawing/2014/main" id="{06E0607A-E7CD-4B9C-B7BE-AB54FDA093F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75918" y="1772309"/>
            <a:ext cx="914400" cy="914400"/>
          </a:xfrm>
          <a:prstGeom prst="rect">
            <a:avLst/>
          </a:prstGeom>
        </p:spPr>
      </p:pic>
      <p:pic>
        <p:nvPicPr>
          <p:cNvPr id="37" name="Gráfico 36" descr="Inalámbrico contorno">
            <a:extLst>
              <a:ext uri="{FF2B5EF4-FFF2-40B4-BE49-F238E27FC236}">
                <a16:creationId xmlns:a16="http://schemas.microsoft.com/office/drawing/2014/main" id="{7C60134A-A3C0-A1DD-3DF7-26C9421AAF4D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-345437" y="1722227"/>
            <a:ext cx="914400" cy="914400"/>
          </a:xfrm>
          <a:prstGeom prst="rect">
            <a:avLst/>
          </a:prstGeom>
        </p:spPr>
      </p:pic>
      <p:pic>
        <p:nvPicPr>
          <p:cNvPr id="38" name="Gráfico 37" descr="Enrutador inalámbrico contorno">
            <a:extLst>
              <a:ext uri="{FF2B5EF4-FFF2-40B4-BE49-F238E27FC236}">
                <a16:creationId xmlns:a16="http://schemas.microsoft.com/office/drawing/2014/main" id="{D4D9C6A9-74FB-BAAD-A462-23DEDE47D4F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665562" y="2117967"/>
            <a:ext cx="914400" cy="914400"/>
          </a:xfrm>
          <a:prstGeom prst="rect">
            <a:avLst/>
          </a:prstGeom>
        </p:spPr>
      </p:pic>
      <p:pic>
        <p:nvPicPr>
          <p:cNvPr id="39" name="Gráfico 38" descr="Inalámbrico con relleno sólido">
            <a:extLst>
              <a:ext uri="{FF2B5EF4-FFF2-40B4-BE49-F238E27FC236}">
                <a16:creationId xmlns:a16="http://schemas.microsoft.com/office/drawing/2014/main" id="{A58965E0-362D-3CD4-EEAF-AB4EC03BF1E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1589895" y="2039010"/>
            <a:ext cx="914400" cy="914400"/>
          </a:xfrm>
          <a:prstGeom prst="rect">
            <a:avLst/>
          </a:prstGeom>
        </p:spPr>
      </p:pic>
      <p:pic>
        <p:nvPicPr>
          <p:cNvPr id="40" name="Gráfico 39" descr="Inalámbrico contorno">
            <a:extLst>
              <a:ext uri="{FF2B5EF4-FFF2-40B4-BE49-F238E27FC236}">
                <a16:creationId xmlns:a16="http://schemas.microsoft.com/office/drawing/2014/main" id="{80AF0E25-D5C3-9DEA-18E6-18DAE83D149D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2215868" y="2401908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48512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E69A081B-6BFB-0EB1-D206-C670434563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1746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21" imgH="423" progId="TCLayout.ActiveDocument.1">
                  <p:embed/>
                </p:oleObj>
              </mc:Choice>
              <mc:Fallback>
                <p:oleObj name="Diapositiva de think-cell" r:id="rId3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Imagen 10" descr="Un hombre sentado frente a una computadora&#10;&#10;Descripción generada automáticamente con confianza media">
            <a:extLst>
              <a:ext uri="{FF2B5EF4-FFF2-40B4-BE49-F238E27FC236}">
                <a16:creationId xmlns:a16="http://schemas.microsoft.com/office/drawing/2014/main" id="{408A4384-0618-BDE8-3D7B-FC0AD4D57E3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468" y="-1"/>
            <a:ext cx="12200467" cy="8133645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DA744EA4-41F9-7DC5-6DCE-4AB5EFE2A7A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s-ES_tradnl" sz="4000" dirty="0">
                <a:solidFill>
                  <a:schemeClr val="bg1"/>
                </a:solidFill>
              </a:rPr>
              <a:t>5G &amp; Wifi </a:t>
            </a:r>
            <a:r>
              <a:rPr lang="es-ES_tradnl" sz="4000" dirty="0" err="1">
                <a:solidFill>
                  <a:schemeClr val="bg1"/>
                </a:solidFill>
              </a:rPr>
              <a:t>targeted</a:t>
            </a:r>
            <a:r>
              <a:rPr lang="es-ES_tradnl" sz="4000" dirty="0">
                <a:solidFill>
                  <a:schemeClr val="bg1"/>
                </a:solidFill>
              </a:rPr>
              <a:t> </a:t>
            </a:r>
            <a:r>
              <a:rPr lang="es-ES_tradnl" sz="4000" dirty="0" err="1">
                <a:solidFill>
                  <a:schemeClr val="bg1"/>
                </a:solidFill>
              </a:rPr>
              <a:t>for</a:t>
            </a:r>
            <a:r>
              <a:rPr lang="es-ES_tradnl" sz="4000" dirty="0">
                <a:solidFill>
                  <a:schemeClr val="bg1"/>
                </a:solidFill>
              </a:rPr>
              <a:t> </a:t>
            </a:r>
            <a:r>
              <a:rPr lang="es-ES_tradnl" sz="4000" dirty="0" err="1">
                <a:solidFill>
                  <a:schemeClr val="bg1"/>
                </a:solidFill>
              </a:rPr>
              <a:t>different</a:t>
            </a:r>
            <a:r>
              <a:rPr lang="es-ES_tradnl" sz="4000" dirty="0">
                <a:solidFill>
                  <a:schemeClr val="bg1"/>
                </a:solidFill>
              </a:rPr>
              <a:t> use cases</a:t>
            </a: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83C8EB89-C46F-F2B6-5FC7-E3CD594931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96097A3-845D-4C79-9B10-713A18711759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688548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93A450E1-83AC-A2CB-A1DE-CE8AED374F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0606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21" imgH="423" progId="TCLayout.ActiveDocument.1">
                  <p:embed/>
                </p:oleObj>
              </mc:Choice>
              <mc:Fallback>
                <p:oleObj name="Diapositiva de think-cell" r:id="rId3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2CDEDC0E-87F9-4CAB-B64F-9330B913493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s-ES_tradnl" sz="4000" dirty="0" err="1"/>
              <a:t>Some</a:t>
            </a:r>
            <a:r>
              <a:rPr lang="es-ES_tradnl" sz="4000" dirty="0"/>
              <a:t> </a:t>
            </a:r>
            <a:r>
              <a:rPr lang="es-ES_tradnl" sz="4000" dirty="0" err="1"/>
              <a:t>implications</a:t>
            </a:r>
            <a:r>
              <a:rPr lang="es-ES_tradnl" sz="4000" dirty="0"/>
              <a:t> </a:t>
            </a:r>
            <a:r>
              <a:rPr lang="es-ES_tradnl" sz="4000" dirty="0" err="1"/>
              <a:t>to</a:t>
            </a:r>
            <a:r>
              <a:rPr lang="es-ES_tradnl" sz="4000" dirty="0"/>
              <a:t> </a:t>
            </a:r>
            <a:r>
              <a:rPr lang="es-ES_tradnl" sz="4000" dirty="0" err="1"/>
              <a:t>telecom</a:t>
            </a:r>
            <a:r>
              <a:rPr lang="es-ES_tradnl" sz="4000" dirty="0"/>
              <a:t> </a:t>
            </a:r>
            <a:r>
              <a:rPr lang="es-ES_tradnl" sz="4000" dirty="0" err="1"/>
              <a:t>players</a:t>
            </a:r>
            <a:r>
              <a:rPr lang="es-ES_tradnl" sz="4000" dirty="0"/>
              <a:t>*</a:t>
            </a: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319F01B4-7027-A611-9643-4408BC8A9D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96097A3-845D-4C79-9B10-713A18711759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6" name="Subtítulo 5">
            <a:extLst>
              <a:ext uri="{FF2B5EF4-FFF2-40B4-BE49-F238E27FC236}">
                <a16:creationId xmlns:a16="http://schemas.microsoft.com/office/drawing/2014/main" id="{80198A08-E939-26A4-49F9-AEC00BAE346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s-ES_tradnl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F1972515-45AB-964D-7E80-6BA0AED997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50900"/>
            <a:ext cx="12061232" cy="4671334"/>
          </a:xfrm>
          <a:prstGeom prst="rect">
            <a:avLst/>
          </a:prstGeom>
        </p:spPr>
      </p:pic>
      <p:sp>
        <p:nvSpPr>
          <p:cNvPr id="14" name="Rectángulo: esquinas redondeadas 13">
            <a:extLst>
              <a:ext uri="{FF2B5EF4-FFF2-40B4-BE49-F238E27FC236}">
                <a16:creationId xmlns:a16="http://schemas.microsoft.com/office/drawing/2014/main" id="{374A87F8-C7D1-C57C-4608-DAB31DD996BE}"/>
              </a:ext>
            </a:extLst>
          </p:cNvPr>
          <p:cNvSpPr/>
          <p:nvPr/>
        </p:nvSpPr>
        <p:spPr>
          <a:xfrm>
            <a:off x="11313762" y="26296"/>
            <a:ext cx="798115" cy="1189535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5" name="Rectángulo: esquinas redondeadas 14">
            <a:extLst>
              <a:ext uri="{FF2B5EF4-FFF2-40B4-BE49-F238E27FC236}">
                <a16:creationId xmlns:a16="http://schemas.microsoft.com/office/drawing/2014/main" id="{7C3D40C8-7BAB-3580-B56C-8E24E619DA76}"/>
              </a:ext>
            </a:extLst>
          </p:cNvPr>
          <p:cNvSpPr/>
          <p:nvPr/>
        </p:nvSpPr>
        <p:spPr>
          <a:xfrm>
            <a:off x="5295203" y="4957763"/>
            <a:ext cx="1762822" cy="1389075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_tradnl" dirty="0" err="1">
                <a:solidFill>
                  <a:schemeClr val="tx2"/>
                </a:solidFill>
              </a:rPr>
              <a:t>Today’s</a:t>
            </a:r>
            <a:r>
              <a:rPr lang="es-ES_tradnl" dirty="0">
                <a:solidFill>
                  <a:schemeClr val="tx2"/>
                </a:solidFill>
              </a:rPr>
              <a:t> video </a:t>
            </a:r>
            <a:r>
              <a:rPr lang="es-ES_tradnl" dirty="0" err="1">
                <a:solidFill>
                  <a:schemeClr val="tx2"/>
                </a:solidFill>
              </a:rPr>
              <a:t>calling</a:t>
            </a:r>
            <a:endParaRPr lang="es-ES_tradnl" dirty="0">
              <a:solidFill>
                <a:schemeClr val="tx2"/>
              </a:solidFill>
            </a:endParaRPr>
          </a:p>
          <a:p>
            <a:pPr algn="ctr"/>
            <a:endParaRPr lang="es-ES_tradnl" dirty="0"/>
          </a:p>
          <a:p>
            <a:pPr algn="ctr"/>
            <a:r>
              <a:rPr lang="es-ES_tradnl" b="1" dirty="0">
                <a:solidFill>
                  <a:schemeClr val="accent1"/>
                </a:solidFill>
              </a:rPr>
              <a:t>150 ms (</a:t>
            </a:r>
            <a:r>
              <a:rPr lang="es-ES_tradnl" b="1" dirty="0" err="1">
                <a:solidFill>
                  <a:schemeClr val="accent1"/>
                </a:solidFill>
              </a:rPr>
              <a:t>latency</a:t>
            </a:r>
            <a:r>
              <a:rPr lang="es-ES_tradnl" b="1" dirty="0">
                <a:solidFill>
                  <a:schemeClr val="accent1"/>
                </a:solidFill>
              </a:rPr>
              <a:t>)</a:t>
            </a:r>
          </a:p>
        </p:txBody>
      </p:sp>
      <p:sp>
        <p:nvSpPr>
          <p:cNvPr id="16" name="Rectángulo: esquinas redondeadas 15">
            <a:extLst>
              <a:ext uri="{FF2B5EF4-FFF2-40B4-BE49-F238E27FC236}">
                <a16:creationId xmlns:a16="http://schemas.microsoft.com/office/drawing/2014/main" id="{45F34FE4-0F7E-77FE-7B07-F954E3EFB04E}"/>
              </a:ext>
            </a:extLst>
          </p:cNvPr>
          <p:cNvSpPr/>
          <p:nvPr/>
        </p:nvSpPr>
        <p:spPr>
          <a:xfrm>
            <a:off x="8678217" y="4957762"/>
            <a:ext cx="1762822" cy="1389075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_tradnl" dirty="0" err="1">
                <a:solidFill>
                  <a:schemeClr val="tx2"/>
                </a:solidFill>
              </a:rPr>
              <a:t>Tommorow’s</a:t>
            </a:r>
            <a:r>
              <a:rPr lang="es-ES_tradnl" dirty="0">
                <a:solidFill>
                  <a:schemeClr val="tx2"/>
                </a:solidFill>
              </a:rPr>
              <a:t> Cloud VR</a:t>
            </a:r>
          </a:p>
          <a:p>
            <a:pPr algn="ctr"/>
            <a:endParaRPr lang="es-ES_tradnl" dirty="0"/>
          </a:p>
          <a:p>
            <a:pPr algn="ctr"/>
            <a:r>
              <a:rPr lang="es-ES_tradnl" b="1" dirty="0">
                <a:solidFill>
                  <a:schemeClr val="accent1"/>
                </a:solidFill>
              </a:rPr>
              <a:t>&lt;30 ms</a:t>
            </a:r>
          </a:p>
          <a:p>
            <a:pPr algn="ctr"/>
            <a:r>
              <a:rPr lang="es-ES_tradnl" b="1" dirty="0">
                <a:solidFill>
                  <a:schemeClr val="accent1"/>
                </a:solidFill>
              </a:rPr>
              <a:t>(</a:t>
            </a:r>
            <a:r>
              <a:rPr lang="es-ES_tradnl" b="1" dirty="0" err="1">
                <a:solidFill>
                  <a:schemeClr val="accent1"/>
                </a:solidFill>
              </a:rPr>
              <a:t>latency</a:t>
            </a:r>
            <a:r>
              <a:rPr lang="es-ES_tradnl" b="1" dirty="0">
                <a:solidFill>
                  <a:schemeClr val="accent1"/>
                </a:solidFill>
              </a:rPr>
              <a:t>)</a:t>
            </a:r>
          </a:p>
        </p:txBody>
      </p:sp>
      <p:sp>
        <p:nvSpPr>
          <p:cNvPr id="17" name="Flecha: a la derecha 16">
            <a:extLst>
              <a:ext uri="{FF2B5EF4-FFF2-40B4-BE49-F238E27FC236}">
                <a16:creationId xmlns:a16="http://schemas.microsoft.com/office/drawing/2014/main" id="{2C444E1D-73AE-0712-E1C3-BFAD1C2582F6}"/>
              </a:ext>
            </a:extLst>
          </p:cNvPr>
          <p:cNvSpPr/>
          <p:nvPr/>
        </p:nvSpPr>
        <p:spPr>
          <a:xfrm>
            <a:off x="7460927" y="5449669"/>
            <a:ext cx="814388" cy="484866"/>
          </a:xfrm>
          <a:prstGeom prst="rightArrow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D3894B48-F48A-9943-A1CD-BD79B7EB806B}"/>
              </a:ext>
            </a:extLst>
          </p:cNvPr>
          <p:cNvSpPr txBox="1"/>
          <p:nvPr/>
        </p:nvSpPr>
        <p:spPr>
          <a:xfrm>
            <a:off x="111936" y="6631876"/>
            <a:ext cx="4517302" cy="15388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_tradnl" sz="1000" dirty="0">
                <a:solidFill>
                  <a:schemeClr val="bg1"/>
                </a:solidFill>
              </a:rPr>
              <a:t>(*) Meta </a:t>
            </a:r>
            <a:r>
              <a:rPr lang="es-ES_tradnl" sz="1000" dirty="0" err="1">
                <a:solidFill>
                  <a:schemeClr val="bg1"/>
                </a:solidFill>
              </a:rPr>
              <a:t>vision</a:t>
            </a:r>
            <a:r>
              <a:rPr lang="es-ES_tradnl" sz="1000" dirty="0">
                <a:solidFill>
                  <a:schemeClr val="bg1"/>
                </a:solidFill>
              </a:rPr>
              <a:t>; </a:t>
            </a:r>
            <a:r>
              <a:rPr lang="es-ES_tradnl" sz="1000" dirty="0" err="1">
                <a:solidFill>
                  <a:schemeClr val="bg1"/>
                </a:solidFill>
              </a:rPr>
              <a:t>expected</a:t>
            </a:r>
            <a:r>
              <a:rPr lang="es-ES_tradnl" sz="1000" dirty="0">
                <a:solidFill>
                  <a:schemeClr val="bg1"/>
                </a:solidFill>
              </a:rPr>
              <a:t> </a:t>
            </a:r>
            <a:r>
              <a:rPr lang="es-ES_tradnl" sz="1000" dirty="0" err="1">
                <a:solidFill>
                  <a:schemeClr val="bg1"/>
                </a:solidFill>
              </a:rPr>
              <a:t>to</a:t>
            </a:r>
            <a:r>
              <a:rPr lang="es-ES_tradnl" sz="1000" dirty="0">
                <a:solidFill>
                  <a:schemeClr val="bg1"/>
                </a:solidFill>
              </a:rPr>
              <a:t> </a:t>
            </a:r>
            <a:r>
              <a:rPr lang="es-ES_tradnl" sz="1000" dirty="0" err="1">
                <a:solidFill>
                  <a:schemeClr val="bg1"/>
                </a:solidFill>
              </a:rPr>
              <a:t>change</a:t>
            </a:r>
            <a:r>
              <a:rPr lang="es-ES_tradnl" sz="1000" dirty="0">
                <a:solidFill>
                  <a:schemeClr val="bg1"/>
                </a:solidFill>
              </a:rPr>
              <a:t> as </a:t>
            </a:r>
            <a:r>
              <a:rPr lang="es-ES_tradnl" sz="1000" dirty="0" err="1">
                <a:solidFill>
                  <a:schemeClr val="bg1"/>
                </a:solidFill>
              </a:rPr>
              <a:t>they</a:t>
            </a:r>
            <a:r>
              <a:rPr lang="es-ES_tradnl" sz="1000" dirty="0">
                <a:solidFill>
                  <a:schemeClr val="bg1"/>
                </a:solidFill>
              </a:rPr>
              <a:t> </a:t>
            </a:r>
            <a:r>
              <a:rPr lang="es-ES_tradnl" sz="1000" dirty="0" err="1">
                <a:solidFill>
                  <a:schemeClr val="bg1"/>
                </a:solidFill>
              </a:rPr>
              <a:t>collaborate</a:t>
            </a:r>
            <a:r>
              <a:rPr lang="es-ES_tradnl" sz="1000" dirty="0">
                <a:solidFill>
                  <a:schemeClr val="bg1"/>
                </a:solidFill>
              </a:rPr>
              <a:t> </a:t>
            </a:r>
            <a:r>
              <a:rPr lang="es-ES_tradnl" sz="1000" dirty="0" err="1">
                <a:solidFill>
                  <a:schemeClr val="bg1"/>
                </a:solidFill>
              </a:rPr>
              <a:t>with</a:t>
            </a:r>
            <a:r>
              <a:rPr lang="es-ES_tradnl" sz="1000" dirty="0">
                <a:solidFill>
                  <a:schemeClr val="bg1"/>
                </a:solidFill>
              </a:rPr>
              <a:t> </a:t>
            </a:r>
            <a:r>
              <a:rPr lang="es-ES_tradnl" sz="1000" dirty="0" err="1">
                <a:solidFill>
                  <a:schemeClr val="bg1"/>
                </a:solidFill>
              </a:rPr>
              <a:t>telecom</a:t>
            </a:r>
            <a:r>
              <a:rPr lang="es-ES_tradnl" sz="1000" dirty="0">
                <a:solidFill>
                  <a:schemeClr val="bg1"/>
                </a:solidFill>
              </a:rPr>
              <a:t> </a:t>
            </a:r>
            <a:r>
              <a:rPr lang="es-ES_tradnl" sz="1000" dirty="0" err="1">
                <a:solidFill>
                  <a:schemeClr val="bg1"/>
                </a:solidFill>
              </a:rPr>
              <a:t>industry</a:t>
            </a:r>
            <a:endParaRPr lang="es-ES_tradnl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97177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37EB362C-C43B-DA04-4EDA-A14161DED9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3476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21" imgH="423" progId="TCLayout.ActiveDocument.1">
                  <p:embed/>
                </p:oleObj>
              </mc:Choice>
              <mc:Fallback>
                <p:oleObj name="Diapositiva de think-cell" r:id="rId4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5EDC1DF0-B2B5-940F-D44E-1785DC99495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4617" y="116560"/>
            <a:ext cx="5589157" cy="643168"/>
          </a:xfrm>
        </p:spPr>
        <p:txBody>
          <a:bodyPr vert="horz"/>
          <a:lstStyle/>
          <a:p>
            <a:r>
              <a:rPr lang="es-ES_tradnl" sz="5000" dirty="0"/>
              <a:t>Final </a:t>
            </a:r>
            <a:r>
              <a:rPr lang="es-ES_tradnl" sz="5000" dirty="0" err="1"/>
              <a:t>thoughts</a:t>
            </a:r>
            <a:endParaRPr lang="es-ES_tradnl" sz="5000" dirty="0"/>
          </a:p>
        </p:txBody>
      </p:sp>
      <p:pic>
        <p:nvPicPr>
          <p:cNvPr id="11" name="Imagen 10" descr="Imagen que contiene Diagrama&#10;&#10;Descripción generada automáticamente">
            <a:extLst>
              <a:ext uri="{FF2B5EF4-FFF2-40B4-BE49-F238E27FC236}">
                <a16:creationId xmlns:a16="http://schemas.microsoft.com/office/drawing/2014/main" id="{73659525-A69A-2E39-72F5-16D9EDA3A07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63040"/>
            <a:ext cx="6158396" cy="4919472"/>
          </a:xfrm>
          <a:prstGeom prst="rect">
            <a:avLst/>
          </a:prstGeom>
        </p:spPr>
      </p:pic>
      <p:pic>
        <p:nvPicPr>
          <p:cNvPr id="13" name="Imagen 12" descr="Una mano con un suéter de color azul&#10;&#10;Descripción generada automáticamente con confianza media">
            <a:extLst>
              <a:ext uri="{FF2B5EF4-FFF2-40B4-BE49-F238E27FC236}">
                <a16:creationId xmlns:a16="http://schemas.microsoft.com/office/drawing/2014/main" id="{E6619629-4E32-305F-8220-9CA592E5057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73"/>
          <a:stretch/>
        </p:blipFill>
        <p:spPr>
          <a:xfrm>
            <a:off x="6096000" y="1463040"/>
            <a:ext cx="6096000" cy="4888443"/>
          </a:xfrm>
          <a:prstGeom prst="rect">
            <a:avLst/>
          </a:prstGeom>
        </p:spPr>
      </p:pic>
      <p:sp>
        <p:nvSpPr>
          <p:cNvPr id="14" name="Rectángulo: esquinas redondeadas 13">
            <a:extLst>
              <a:ext uri="{FF2B5EF4-FFF2-40B4-BE49-F238E27FC236}">
                <a16:creationId xmlns:a16="http://schemas.microsoft.com/office/drawing/2014/main" id="{F3011105-BB64-7F60-128A-E50BEA6DC76C}"/>
              </a:ext>
            </a:extLst>
          </p:cNvPr>
          <p:cNvSpPr/>
          <p:nvPr/>
        </p:nvSpPr>
        <p:spPr>
          <a:xfrm>
            <a:off x="11313762" y="26296"/>
            <a:ext cx="798115" cy="1189535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33" name="Título 1">
            <a:extLst>
              <a:ext uri="{FF2B5EF4-FFF2-40B4-BE49-F238E27FC236}">
                <a16:creationId xmlns:a16="http://schemas.microsoft.com/office/drawing/2014/main" id="{F4DB05E8-3EDF-AFA3-7F77-1AA23B1EF175}"/>
              </a:ext>
            </a:extLst>
          </p:cNvPr>
          <p:cNvSpPr txBox="1">
            <a:spLocks/>
          </p:cNvSpPr>
          <p:nvPr/>
        </p:nvSpPr>
        <p:spPr>
          <a:xfrm>
            <a:off x="2112981" y="1151188"/>
            <a:ext cx="1932431" cy="156083"/>
          </a:xfrm>
          <a:prstGeom prst="rect">
            <a:avLst/>
          </a:prstGeom>
        </p:spPr>
        <p:txBody>
          <a:bodyPr vert="horz" lIns="0" tIns="0" rIns="0" bIns="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pPr algn="ctr"/>
            <a:r>
              <a:rPr lang="es-ES_tradnl" sz="1400" dirty="0"/>
              <a:t>ISP &amp; </a:t>
            </a:r>
            <a:r>
              <a:rPr lang="es-ES_tradnl" sz="1400" dirty="0" err="1"/>
              <a:t>applications</a:t>
            </a:r>
            <a:endParaRPr lang="es-ES_tradnl" sz="1400" dirty="0"/>
          </a:p>
        </p:txBody>
      </p:sp>
      <p:sp>
        <p:nvSpPr>
          <p:cNvPr id="36" name="Título 1">
            <a:extLst>
              <a:ext uri="{FF2B5EF4-FFF2-40B4-BE49-F238E27FC236}">
                <a16:creationId xmlns:a16="http://schemas.microsoft.com/office/drawing/2014/main" id="{F40881E6-5F85-1EE4-1B98-8DF9048C4988}"/>
              </a:ext>
            </a:extLst>
          </p:cNvPr>
          <p:cNvSpPr txBox="1">
            <a:spLocks/>
          </p:cNvSpPr>
          <p:nvPr/>
        </p:nvSpPr>
        <p:spPr>
          <a:xfrm>
            <a:off x="8186930" y="1151188"/>
            <a:ext cx="1932431" cy="156083"/>
          </a:xfrm>
          <a:prstGeom prst="rect">
            <a:avLst/>
          </a:prstGeom>
        </p:spPr>
        <p:txBody>
          <a:bodyPr vert="horz" lIns="0" tIns="0" rIns="0" bIns="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pPr algn="ctr"/>
            <a:r>
              <a:rPr lang="es-ES_tradnl" sz="1400" dirty="0"/>
              <a:t>Wifi</a:t>
            </a:r>
          </a:p>
        </p:txBody>
      </p:sp>
    </p:spTree>
    <p:extLst>
      <p:ext uri="{BB962C8B-B14F-4D97-AF65-F5344CB8AC3E}">
        <p14:creationId xmlns:p14="http://schemas.microsoft.com/office/powerpoint/2010/main" val="7847538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56232632-810C-2680-FD14-BE5397F44E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6755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21" imgH="423" progId="TCLayout.ActiveDocument.1">
                  <p:embed/>
                </p:oleObj>
              </mc:Choice>
              <mc:Fallback>
                <p:oleObj name="Diapositiva de think-cell" r:id="rId3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F3D7D8EF-F59F-709E-FF46-6B06A942278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s-ES_tradnl" sz="4000" dirty="0"/>
              <a:t>Mi </a:t>
            </a:r>
            <a:r>
              <a:rPr lang="es-ES_tradnl" sz="4000" dirty="0" err="1"/>
              <a:t>path</a:t>
            </a:r>
            <a:r>
              <a:rPr lang="es-ES_tradnl" sz="4000" dirty="0"/>
              <a:t> </a:t>
            </a:r>
            <a:r>
              <a:rPr lang="es-ES_tradnl" sz="4000" dirty="0" err="1"/>
              <a:t>towards</a:t>
            </a:r>
            <a:r>
              <a:rPr lang="es-ES_tradnl" sz="4000" dirty="0"/>
              <a:t> wifi</a:t>
            </a:r>
          </a:p>
        </p:txBody>
      </p:sp>
      <p:sp>
        <p:nvSpPr>
          <p:cNvPr id="10" name="Elipse 9">
            <a:extLst>
              <a:ext uri="{FF2B5EF4-FFF2-40B4-BE49-F238E27FC236}">
                <a16:creationId xmlns:a16="http://schemas.microsoft.com/office/drawing/2014/main" id="{00BC915C-DB6B-B902-5DC5-D265911A5720}"/>
              </a:ext>
            </a:extLst>
          </p:cNvPr>
          <p:cNvSpPr/>
          <p:nvPr/>
        </p:nvSpPr>
        <p:spPr>
          <a:xfrm>
            <a:off x="6611014" y="979488"/>
            <a:ext cx="4103989" cy="3943686"/>
          </a:xfrm>
          <a:prstGeom prst="ellipse">
            <a:avLst/>
          </a:prstGeo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2D712A2C-4B96-13C3-A0D2-72EE072FC7C6}"/>
              </a:ext>
            </a:extLst>
          </p:cNvPr>
          <p:cNvSpPr txBox="1"/>
          <p:nvPr/>
        </p:nvSpPr>
        <p:spPr>
          <a:xfrm>
            <a:off x="6402163" y="5197010"/>
            <a:ext cx="4748463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s-ES_tradnl" dirty="0">
                <a:solidFill>
                  <a:schemeClr val="bg2"/>
                </a:solidFill>
                <a:latin typeface="Arial Nova Light" panose="020B0304020202020204" pitchFamily="34" charset="0"/>
              </a:rPr>
              <a:t>“I </a:t>
            </a:r>
            <a:r>
              <a:rPr lang="es-ES_tradnl" dirty="0" err="1">
                <a:solidFill>
                  <a:schemeClr val="bg2"/>
                </a:solidFill>
                <a:latin typeface="Arial Nova Light" panose="020B0304020202020204" pitchFamily="34" charset="0"/>
              </a:rPr>
              <a:t>love</a:t>
            </a:r>
            <a:r>
              <a:rPr lang="es-ES_tradnl" dirty="0">
                <a:solidFill>
                  <a:schemeClr val="bg2"/>
                </a:solidFill>
                <a:latin typeface="Arial Nova Light" panose="020B0304020202020204" pitchFamily="34" charset="0"/>
              </a:rPr>
              <a:t> </a:t>
            </a:r>
            <a:r>
              <a:rPr lang="es-ES_tradnl" dirty="0" err="1">
                <a:solidFill>
                  <a:schemeClr val="bg2"/>
                </a:solidFill>
                <a:latin typeface="Arial Nova Light" panose="020B0304020202020204" pitchFamily="34" charset="0"/>
              </a:rPr>
              <a:t>complexity</a:t>
            </a:r>
            <a:r>
              <a:rPr lang="es-ES_tradnl" dirty="0">
                <a:solidFill>
                  <a:schemeClr val="bg2"/>
                </a:solidFill>
                <a:latin typeface="Arial Nova Light" panose="020B0304020202020204" pitchFamily="34" charset="0"/>
              </a:rPr>
              <a:t> and </a:t>
            </a:r>
            <a:r>
              <a:rPr lang="es-ES_tradnl" dirty="0" err="1">
                <a:solidFill>
                  <a:schemeClr val="bg2"/>
                </a:solidFill>
                <a:latin typeface="Arial Nova Light" panose="020B0304020202020204" pitchFamily="34" charset="0"/>
              </a:rPr>
              <a:t>make</a:t>
            </a:r>
            <a:r>
              <a:rPr lang="es-ES_tradnl" dirty="0">
                <a:solidFill>
                  <a:schemeClr val="bg2"/>
                </a:solidFill>
                <a:latin typeface="Arial Nova Light" panose="020B0304020202020204" pitchFamily="34" charset="0"/>
              </a:rPr>
              <a:t> </a:t>
            </a:r>
            <a:r>
              <a:rPr lang="es-ES_tradnl" dirty="0" err="1">
                <a:solidFill>
                  <a:schemeClr val="bg2"/>
                </a:solidFill>
                <a:latin typeface="Arial Nova Light" panose="020B0304020202020204" pitchFamily="34" charset="0"/>
              </a:rPr>
              <a:t>it</a:t>
            </a:r>
            <a:r>
              <a:rPr lang="es-ES_tradnl" dirty="0">
                <a:solidFill>
                  <a:schemeClr val="bg2"/>
                </a:solidFill>
                <a:latin typeface="Arial Nova Light" panose="020B0304020202020204" pitchFamily="34" charset="0"/>
              </a:rPr>
              <a:t> </a:t>
            </a:r>
            <a:r>
              <a:rPr lang="es-ES_tradnl" dirty="0" err="1">
                <a:solidFill>
                  <a:schemeClr val="bg2"/>
                </a:solidFill>
                <a:latin typeface="Arial Nova Light" panose="020B0304020202020204" pitchFamily="34" charset="0"/>
              </a:rPr>
              <a:t>simpler</a:t>
            </a:r>
            <a:r>
              <a:rPr lang="es-ES_tradnl" dirty="0">
                <a:solidFill>
                  <a:schemeClr val="bg2"/>
                </a:solidFill>
                <a:latin typeface="Arial Nova Light" panose="020B0304020202020204" pitchFamily="34" charset="0"/>
              </a:rPr>
              <a:t> </a:t>
            </a:r>
            <a:r>
              <a:rPr lang="es-ES_tradnl" dirty="0" err="1">
                <a:solidFill>
                  <a:schemeClr val="bg2"/>
                </a:solidFill>
                <a:latin typeface="Arial Nova Light" panose="020B0304020202020204" pitchFamily="34" charset="0"/>
              </a:rPr>
              <a:t>for</a:t>
            </a:r>
            <a:r>
              <a:rPr lang="es-ES_tradnl" dirty="0">
                <a:solidFill>
                  <a:schemeClr val="bg2"/>
                </a:solidFill>
                <a:latin typeface="Arial Nova Light" panose="020B0304020202020204" pitchFamily="34" charset="0"/>
              </a:rPr>
              <a:t> </a:t>
            </a:r>
            <a:r>
              <a:rPr lang="es-ES_tradnl" dirty="0" err="1">
                <a:solidFill>
                  <a:schemeClr val="bg2"/>
                </a:solidFill>
                <a:latin typeface="Arial Nova Light" panose="020B0304020202020204" pitchFamily="34" charset="0"/>
              </a:rPr>
              <a:t>everyone</a:t>
            </a:r>
            <a:r>
              <a:rPr lang="es-ES_tradnl" dirty="0">
                <a:solidFill>
                  <a:schemeClr val="bg2"/>
                </a:solidFill>
                <a:latin typeface="Arial Nova Light" panose="020B0304020202020204" pitchFamily="34" charset="0"/>
              </a:rPr>
              <a:t>”</a:t>
            </a:r>
          </a:p>
          <a:p>
            <a:pPr algn="ctr"/>
            <a:r>
              <a:rPr lang="es-ES_tradnl" sz="1200" dirty="0">
                <a:solidFill>
                  <a:schemeClr val="accent1"/>
                </a:solidFill>
                <a:latin typeface="Arial Nova Light" panose="020B030402020202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linkedin.com/in/serore/</a:t>
            </a:r>
            <a:r>
              <a:rPr lang="es-ES_tradnl" sz="1200" dirty="0">
                <a:solidFill>
                  <a:schemeClr val="accent1"/>
                </a:solidFill>
                <a:latin typeface="Arial Nova Light" panose="020B0304020202020204" pitchFamily="34" charset="0"/>
              </a:rPr>
              <a:t> </a:t>
            </a:r>
          </a:p>
        </p:txBody>
      </p:sp>
      <p:sp>
        <p:nvSpPr>
          <p:cNvPr id="12" name="Rectángulo: esquinas redondeadas 11">
            <a:extLst>
              <a:ext uri="{FF2B5EF4-FFF2-40B4-BE49-F238E27FC236}">
                <a16:creationId xmlns:a16="http://schemas.microsoft.com/office/drawing/2014/main" id="{FBFA366A-CA0D-F59E-EACF-0BD20CA615C4}"/>
              </a:ext>
            </a:extLst>
          </p:cNvPr>
          <p:cNvSpPr/>
          <p:nvPr/>
        </p:nvSpPr>
        <p:spPr>
          <a:xfrm>
            <a:off x="11048046" y="26296"/>
            <a:ext cx="1063832" cy="1189535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655A7E7D-6C08-3F57-A045-02DC22E867A2}"/>
              </a:ext>
            </a:extLst>
          </p:cNvPr>
          <p:cNvSpPr txBox="1"/>
          <p:nvPr/>
        </p:nvSpPr>
        <p:spPr>
          <a:xfrm>
            <a:off x="486909" y="4268918"/>
            <a:ext cx="1357313" cy="369332"/>
          </a:xfrm>
          <a:prstGeom prst="rect">
            <a:avLst/>
          </a:prstGeom>
          <a:ln>
            <a:solidFill>
              <a:schemeClr val="accent6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_tradnl" sz="2400" dirty="0"/>
              <a:t>B2B - ITC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6A6D1F21-C592-D275-53E2-A249771016D1}"/>
              </a:ext>
            </a:extLst>
          </p:cNvPr>
          <p:cNvSpPr txBox="1"/>
          <p:nvPr/>
        </p:nvSpPr>
        <p:spPr>
          <a:xfrm>
            <a:off x="1303679" y="3630462"/>
            <a:ext cx="1906614" cy="369332"/>
          </a:xfrm>
          <a:prstGeom prst="rect">
            <a:avLst/>
          </a:prstGeom>
          <a:ln>
            <a:solidFill>
              <a:schemeClr val="accent6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_tradnl" sz="2400" dirty="0"/>
              <a:t>B2C - Mobile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B4194B52-3073-F5FB-E28E-E3A8B30661CC}"/>
              </a:ext>
            </a:extLst>
          </p:cNvPr>
          <p:cNvSpPr txBox="1"/>
          <p:nvPr/>
        </p:nvSpPr>
        <p:spPr>
          <a:xfrm>
            <a:off x="1844222" y="3044214"/>
            <a:ext cx="1906614" cy="369332"/>
          </a:xfrm>
          <a:prstGeom prst="rect">
            <a:avLst/>
          </a:prstGeom>
          <a:ln>
            <a:solidFill>
              <a:schemeClr val="accent6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_tradnl" sz="2400" dirty="0"/>
              <a:t>B2C - </a:t>
            </a:r>
            <a:r>
              <a:rPr lang="es-ES_tradnl" sz="2400" dirty="0" err="1"/>
              <a:t>Fixed</a:t>
            </a:r>
            <a:endParaRPr lang="es-ES_tradnl" sz="2400" dirty="0"/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14400CA3-B400-2A4A-1B09-58463AFAB2A0}"/>
              </a:ext>
            </a:extLst>
          </p:cNvPr>
          <p:cNvSpPr txBox="1"/>
          <p:nvPr/>
        </p:nvSpPr>
        <p:spPr>
          <a:xfrm>
            <a:off x="2496685" y="2514505"/>
            <a:ext cx="1906614" cy="369332"/>
          </a:xfrm>
          <a:prstGeom prst="rect">
            <a:avLst/>
          </a:prstGeom>
          <a:ln>
            <a:solidFill>
              <a:schemeClr val="accent6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_tradnl" sz="2400" dirty="0"/>
              <a:t>B2C - Video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9A6B07DA-0BB9-E98E-5260-7D160EA9471D}"/>
              </a:ext>
            </a:extLst>
          </p:cNvPr>
          <p:cNvSpPr txBox="1"/>
          <p:nvPr/>
        </p:nvSpPr>
        <p:spPr>
          <a:xfrm>
            <a:off x="3210293" y="1984796"/>
            <a:ext cx="3191870" cy="369332"/>
          </a:xfrm>
          <a:prstGeom prst="rect">
            <a:avLst/>
          </a:prstGeom>
          <a:ln>
            <a:solidFill>
              <a:schemeClr val="accent6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_tradnl" sz="2400" dirty="0"/>
              <a:t>B2C – Video &amp; Internet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FFD963FD-3FA1-A112-AC3B-2591B0E363E1}"/>
              </a:ext>
            </a:extLst>
          </p:cNvPr>
          <p:cNvSpPr txBox="1"/>
          <p:nvPr/>
        </p:nvSpPr>
        <p:spPr>
          <a:xfrm>
            <a:off x="4447819" y="1409659"/>
            <a:ext cx="1954344" cy="369332"/>
          </a:xfrm>
          <a:prstGeom prst="rect">
            <a:avLst/>
          </a:prstGeom>
          <a:ln>
            <a:solidFill>
              <a:schemeClr val="accent6"/>
            </a:solidFill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_tradnl" sz="2400" dirty="0"/>
              <a:t>B2C - Internet</a:t>
            </a:r>
          </a:p>
        </p:txBody>
      </p:sp>
    </p:spTree>
    <p:extLst>
      <p:ext uri="{BB962C8B-B14F-4D97-AF65-F5344CB8AC3E}">
        <p14:creationId xmlns:p14="http://schemas.microsoft.com/office/powerpoint/2010/main" val="24868537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85FCC588-9C76-BECF-16CA-2282D3A788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108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21" imgH="423" progId="TCLayout.ActiveDocument.1">
                  <p:embed/>
                </p:oleObj>
              </mc:Choice>
              <mc:Fallback>
                <p:oleObj name="Diapositiva de think-cell" r:id="rId4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n 7" descr="Imagen que contiene persona, sostener, interior, joven&#10;&#10;Descripción generada automáticamente">
            <a:extLst>
              <a:ext uri="{FF2B5EF4-FFF2-40B4-BE49-F238E27FC236}">
                <a16:creationId xmlns:a16="http://schemas.microsoft.com/office/drawing/2014/main" id="{D3A86496-8CDD-C86F-8559-AE038B7AEED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875"/>
            <a:ext cx="12359029" cy="3777711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AFCFBAD4-1855-B3FF-5334-AC257DCE223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4711" y="743687"/>
            <a:ext cx="2631352" cy="1970938"/>
          </a:xfrm>
        </p:spPr>
        <p:txBody>
          <a:bodyPr vert="horz"/>
          <a:lstStyle/>
          <a:p>
            <a:r>
              <a:rPr lang="es-ES_tradnl" sz="4000" dirty="0" err="1">
                <a:solidFill>
                  <a:schemeClr val="bg1"/>
                </a:solidFill>
              </a:rPr>
              <a:t>Why</a:t>
            </a:r>
            <a:r>
              <a:rPr lang="es-ES_tradnl" sz="4000" dirty="0">
                <a:solidFill>
                  <a:schemeClr val="bg1"/>
                </a:solidFill>
              </a:rPr>
              <a:t> wifi </a:t>
            </a:r>
            <a:r>
              <a:rPr lang="es-ES_tradnl" sz="4000" dirty="0" err="1">
                <a:solidFill>
                  <a:schemeClr val="bg1"/>
                </a:solidFill>
              </a:rPr>
              <a:t>matter</a:t>
            </a:r>
            <a:r>
              <a:rPr lang="es-ES_tradnl" sz="4000" dirty="0">
                <a:solidFill>
                  <a:schemeClr val="bg1"/>
                </a:solidFill>
              </a:rPr>
              <a:t>?</a:t>
            </a: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8C555BB1-4221-0EFB-176A-83587BEF03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96097A3-845D-4C79-9B10-713A18711759}" type="slidenum">
              <a:rPr lang="en-US" smtClean="0"/>
              <a:pPr/>
              <a:t>3</a:t>
            </a:fld>
            <a:endParaRPr lang="en-US"/>
          </a:p>
        </p:txBody>
      </p:sp>
      <p:pic>
        <p:nvPicPr>
          <p:cNvPr id="11" name="Imagen 10" descr="Mano sosteniendo una caja de cartón&#10;&#10;Descripción generada automáticamente con confianza baja">
            <a:extLst>
              <a:ext uri="{FF2B5EF4-FFF2-40B4-BE49-F238E27FC236}">
                <a16:creationId xmlns:a16="http://schemas.microsoft.com/office/drawing/2014/main" id="{51BA35E6-1DAA-7459-49D0-902CF39D0F8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0948" y="3765742"/>
            <a:ext cx="6431052" cy="3092257"/>
          </a:xfrm>
          <a:prstGeom prst="rect">
            <a:avLst/>
          </a:prstGeom>
        </p:spPr>
      </p:pic>
      <p:pic>
        <p:nvPicPr>
          <p:cNvPr id="13" name="Imagen 12" descr="Interfaz de usuario gráfica&#10;&#10;Descripción generada automáticamente">
            <a:extLst>
              <a:ext uri="{FF2B5EF4-FFF2-40B4-BE49-F238E27FC236}">
                <a16:creationId xmlns:a16="http://schemas.microsoft.com/office/drawing/2014/main" id="{FF16223E-8CF4-537A-9ACA-3C59B201360D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86" b="14845"/>
          <a:stretch/>
        </p:blipFill>
        <p:spPr>
          <a:xfrm>
            <a:off x="-103324" y="3781586"/>
            <a:ext cx="5864271" cy="3092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44737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DAABE6B2-4930-9515-14B3-1DE94FF5BE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4542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21" imgH="423" progId="TCLayout.ActiveDocument.1">
                  <p:embed/>
                </p:oleObj>
              </mc:Choice>
              <mc:Fallback>
                <p:oleObj name="Diapositiva de think-cell" r:id="rId4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n 7" descr="Dibujo en blanco y negro&#10;&#10;Descripción generada automáticamente con confianza baja">
            <a:extLst>
              <a:ext uri="{FF2B5EF4-FFF2-40B4-BE49-F238E27FC236}">
                <a16:creationId xmlns:a16="http://schemas.microsoft.com/office/drawing/2014/main" id="{CEC8FE62-1379-0A1A-1D7F-B8ABA5916A4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40640"/>
            <a:ext cx="12192000" cy="689864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F348FD56-84E0-63EF-D9E4-5E73C137449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s-ES_tradnl" sz="4000" dirty="0">
                <a:solidFill>
                  <a:schemeClr val="bg1"/>
                </a:solidFill>
              </a:rPr>
              <a:t>Wifi </a:t>
            </a:r>
            <a:r>
              <a:rPr lang="es-ES_tradnl" sz="4000" dirty="0" err="1">
                <a:solidFill>
                  <a:schemeClr val="bg1"/>
                </a:solidFill>
              </a:rPr>
              <a:t>is</a:t>
            </a:r>
            <a:r>
              <a:rPr lang="es-ES_tradnl" sz="4000" dirty="0">
                <a:solidFill>
                  <a:schemeClr val="bg1"/>
                </a:solidFill>
              </a:rPr>
              <a:t> a </a:t>
            </a:r>
            <a:r>
              <a:rPr lang="es-ES_tradnl" sz="4000" dirty="0" err="1">
                <a:solidFill>
                  <a:schemeClr val="bg1"/>
                </a:solidFill>
              </a:rPr>
              <a:t>story</a:t>
            </a:r>
            <a:r>
              <a:rPr lang="es-ES_tradnl" sz="4000" dirty="0">
                <a:solidFill>
                  <a:schemeClr val="bg1"/>
                </a:solidFill>
              </a:rPr>
              <a:t> </a:t>
            </a:r>
            <a:r>
              <a:rPr lang="es-ES_tradnl" sz="4000" dirty="0" err="1">
                <a:solidFill>
                  <a:schemeClr val="bg1"/>
                </a:solidFill>
              </a:rPr>
              <a:t>with</a:t>
            </a:r>
            <a:r>
              <a:rPr lang="es-ES_tradnl" sz="4000" dirty="0">
                <a:solidFill>
                  <a:schemeClr val="bg1"/>
                </a:solidFill>
              </a:rPr>
              <a:t> 2 </a:t>
            </a:r>
            <a:r>
              <a:rPr lang="es-ES_tradnl" sz="4000" dirty="0" err="1">
                <a:solidFill>
                  <a:schemeClr val="bg1"/>
                </a:solidFill>
              </a:rPr>
              <a:t>sides</a:t>
            </a:r>
            <a:endParaRPr lang="es-ES_tradnl" sz="4000" dirty="0">
              <a:solidFill>
                <a:schemeClr val="bg1"/>
              </a:solidFill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60202F13-7997-880E-93D9-A919F047A0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LLA CONFIDENTIAL</a:t>
            </a: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BE526F9C-5897-5165-3451-6B01198ABC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96097A3-845D-4C79-9B10-713A18711759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18" name="Gráfico 17" descr="Enrutador inalámbrico con relleno sólido">
            <a:extLst>
              <a:ext uri="{FF2B5EF4-FFF2-40B4-BE49-F238E27FC236}">
                <a16:creationId xmlns:a16="http://schemas.microsoft.com/office/drawing/2014/main" id="{A106632C-B071-C8D5-7C9D-810C941B525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554637" y="2372640"/>
            <a:ext cx="1350936" cy="1350936"/>
          </a:xfrm>
          <a:prstGeom prst="rect">
            <a:avLst/>
          </a:prstGeom>
        </p:spPr>
      </p:pic>
      <p:pic>
        <p:nvPicPr>
          <p:cNvPr id="19" name="Gráfico 18" descr="Transmitir con relleno sólido">
            <a:extLst>
              <a:ext uri="{FF2B5EF4-FFF2-40B4-BE49-F238E27FC236}">
                <a16:creationId xmlns:a16="http://schemas.microsoft.com/office/drawing/2014/main" id="{2A239283-F1B1-37C2-4B14-113252441BD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8069450" y="2423009"/>
            <a:ext cx="1350936" cy="1350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49283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C41CD364-307C-0726-F298-4DA7F28313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2993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21" imgH="423" progId="TCLayout.ActiveDocument.1">
                  <p:embed/>
                </p:oleObj>
              </mc:Choice>
              <mc:Fallback>
                <p:oleObj name="Diapositiva de think-cell" r:id="rId3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Imagen 17" descr="Mujer con la mano en la cara&#10;&#10;Descripción generada automáticamente con confianza media">
            <a:extLst>
              <a:ext uri="{FF2B5EF4-FFF2-40B4-BE49-F238E27FC236}">
                <a16:creationId xmlns:a16="http://schemas.microsoft.com/office/drawing/2014/main" id="{B6BB00A6-5FB8-3486-2F68-75AB49F9B41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53390" y="-29662"/>
            <a:ext cx="13098780" cy="685800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0425C479-7115-63C9-CA3E-FE182AD41EA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6186" y="436333"/>
            <a:ext cx="3686245" cy="1092430"/>
          </a:xfrm>
        </p:spPr>
        <p:txBody>
          <a:bodyPr vert="horz"/>
          <a:lstStyle/>
          <a:p>
            <a:r>
              <a:rPr lang="es-ES_tradnl" sz="4000" dirty="0" err="1">
                <a:solidFill>
                  <a:schemeClr val="bg1"/>
                </a:solidFill>
              </a:rPr>
              <a:t>They</a:t>
            </a:r>
            <a:r>
              <a:rPr lang="es-ES_tradnl" sz="4000" dirty="0">
                <a:solidFill>
                  <a:schemeClr val="bg1"/>
                </a:solidFill>
              </a:rPr>
              <a:t> </a:t>
            </a:r>
            <a:r>
              <a:rPr lang="es-ES_tradnl" sz="4000" dirty="0" err="1">
                <a:solidFill>
                  <a:schemeClr val="bg1"/>
                </a:solidFill>
              </a:rPr>
              <a:t>expect</a:t>
            </a:r>
            <a:r>
              <a:rPr lang="es-ES_tradnl" sz="4000" dirty="0">
                <a:solidFill>
                  <a:schemeClr val="bg1"/>
                </a:solidFill>
              </a:rPr>
              <a:t> </a:t>
            </a:r>
            <a:r>
              <a:rPr lang="es-ES_tradnl" sz="4000" dirty="0" err="1">
                <a:solidFill>
                  <a:schemeClr val="bg1"/>
                </a:solidFill>
              </a:rPr>
              <a:t>to</a:t>
            </a:r>
            <a:r>
              <a:rPr lang="es-ES_tradnl" sz="4000" dirty="0">
                <a:solidFill>
                  <a:schemeClr val="bg1"/>
                </a:solidFill>
              </a:rPr>
              <a:t> be </a:t>
            </a:r>
            <a:r>
              <a:rPr lang="es-ES_tradnl" sz="4000" dirty="0" err="1">
                <a:solidFill>
                  <a:schemeClr val="bg1"/>
                </a:solidFill>
              </a:rPr>
              <a:t>connected</a:t>
            </a:r>
            <a:endParaRPr lang="es-ES_tradnl" sz="4000" dirty="0">
              <a:solidFill>
                <a:schemeClr val="bg1"/>
              </a:solidFill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3094C2E1-6CF8-E358-E9AD-40831531B1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96097A3-845D-4C79-9B10-713A18711759}" type="slidenum">
              <a:rPr lang="en-US" smtClean="0"/>
              <a:pPr/>
              <a:t>5</a:t>
            </a:fld>
            <a:endParaRPr lang="en-US"/>
          </a:p>
        </p:txBody>
      </p:sp>
      <p:pic>
        <p:nvPicPr>
          <p:cNvPr id="13" name="Gráfico 12" descr="Wi-Fi con relleno sólido">
            <a:extLst>
              <a:ext uri="{FF2B5EF4-FFF2-40B4-BE49-F238E27FC236}">
                <a16:creationId xmlns:a16="http://schemas.microsoft.com/office/drawing/2014/main" id="{B049D981-3788-8134-B075-530FA3FD29A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448594" y="1322388"/>
            <a:ext cx="2763837" cy="2763837"/>
          </a:xfrm>
          <a:prstGeom prst="rect">
            <a:avLst/>
          </a:prstGeom>
        </p:spPr>
      </p:pic>
      <p:pic>
        <p:nvPicPr>
          <p:cNvPr id="20" name="Gráfico 19" descr="Señal con relleno sólido">
            <a:extLst>
              <a:ext uri="{FF2B5EF4-FFF2-40B4-BE49-F238E27FC236}">
                <a16:creationId xmlns:a16="http://schemas.microsoft.com/office/drawing/2014/main" id="{17DADABC-EEDF-3A4E-4B7E-7823EB06791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996363" y="1809005"/>
            <a:ext cx="1847850" cy="1847850"/>
          </a:xfrm>
          <a:prstGeom prst="rect">
            <a:avLst/>
          </a:prstGeom>
        </p:spPr>
      </p:pic>
      <p:sp>
        <p:nvSpPr>
          <p:cNvPr id="22" name="Signo de multiplicación 21">
            <a:extLst>
              <a:ext uri="{FF2B5EF4-FFF2-40B4-BE49-F238E27FC236}">
                <a16:creationId xmlns:a16="http://schemas.microsoft.com/office/drawing/2014/main" id="{C7441A30-A2FA-949C-5FD0-403540ABBE11}"/>
              </a:ext>
            </a:extLst>
          </p:cNvPr>
          <p:cNvSpPr/>
          <p:nvPr/>
        </p:nvSpPr>
        <p:spPr>
          <a:xfrm>
            <a:off x="2214564" y="1942355"/>
            <a:ext cx="1200150" cy="1300908"/>
          </a:xfrm>
          <a:prstGeom prst="mathMultiply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23" name="Signo de multiplicación 22">
            <a:extLst>
              <a:ext uri="{FF2B5EF4-FFF2-40B4-BE49-F238E27FC236}">
                <a16:creationId xmlns:a16="http://schemas.microsoft.com/office/drawing/2014/main" id="{9D63205D-3959-BAAC-060C-A57533DEC193}"/>
              </a:ext>
            </a:extLst>
          </p:cNvPr>
          <p:cNvSpPr/>
          <p:nvPr/>
        </p:nvSpPr>
        <p:spPr>
          <a:xfrm>
            <a:off x="9377361" y="2142007"/>
            <a:ext cx="1200150" cy="1300908"/>
          </a:xfrm>
          <a:prstGeom prst="mathMultiply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7445587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>
            <a:extLst>
              <a:ext uri="{FF2B5EF4-FFF2-40B4-BE49-F238E27FC236}">
                <a16:creationId xmlns:a16="http://schemas.microsoft.com/office/drawing/2014/main" id="{081A390B-453F-8D9E-0C92-051BA09808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02891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21" imgH="423" progId="TCLayout.ActiveDocument.1">
                  <p:embed/>
                </p:oleObj>
              </mc:Choice>
              <mc:Fallback>
                <p:oleObj name="Diapositiva de think-cell" r:id="rId4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9B8DBF25-B283-A15D-DD19-818C88F2787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s-ES_tradnl" sz="4000" dirty="0"/>
              <a:t>Wifi 6 </a:t>
            </a:r>
            <a:r>
              <a:rPr lang="es-ES_tradnl" sz="4000" dirty="0" err="1"/>
              <a:t>it’s</a:t>
            </a:r>
            <a:r>
              <a:rPr lang="es-ES_tradnl" sz="4000" dirty="0"/>
              <a:t> </a:t>
            </a:r>
            <a:r>
              <a:rPr lang="es-ES_tradnl" sz="4000" dirty="0" err="1"/>
              <a:t>about</a:t>
            </a:r>
            <a:r>
              <a:rPr lang="es-ES_tradnl" sz="4000" dirty="0"/>
              <a:t> </a:t>
            </a:r>
            <a:r>
              <a:rPr lang="es-ES_tradnl" sz="4000" dirty="0" err="1"/>
              <a:t>efficiency</a:t>
            </a:r>
            <a:endParaRPr lang="es-ES_tradnl" sz="4000" dirty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2E98A377-11F0-D399-8755-C96A603FC7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96097A3-845D-4C79-9B10-713A18711759}" type="slidenum">
              <a:rPr lang="en-US" smtClean="0"/>
              <a:pPr/>
              <a:t>6</a:t>
            </a:fld>
            <a:endParaRPr lang="en-US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0B514301-709A-B435-EE97-0FE64FB76CF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1414" y="1558787"/>
            <a:ext cx="4979443" cy="3740426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EC01F09F-00F0-D14E-7F0B-578FB19B6F4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25950" y="1558787"/>
            <a:ext cx="4933145" cy="4025900"/>
          </a:xfrm>
          <a:prstGeom prst="rect">
            <a:avLst/>
          </a:prstGeom>
        </p:spPr>
      </p:pic>
      <p:sp>
        <p:nvSpPr>
          <p:cNvPr id="17" name="Rectángulo: esquinas redondeadas 16">
            <a:extLst>
              <a:ext uri="{FF2B5EF4-FFF2-40B4-BE49-F238E27FC236}">
                <a16:creationId xmlns:a16="http://schemas.microsoft.com/office/drawing/2014/main" id="{EC25598F-469E-2EF8-E59F-549C0BF61BEF}"/>
              </a:ext>
            </a:extLst>
          </p:cNvPr>
          <p:cNvSpPr/>
          <p:nvPr/>
        </p:nvSpPr>
        <p:spPr>
          <a:xfrm>
            <a:off x="11048046" y="26296"/>
            <a:ext cx="1063832" cy="1189535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6048624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F013010F-D6D3-510D-FB17-C1BBF266B9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2614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7" imgW="421" imgH="423" progId="TCLayout.ActiveDocument.1">
                  <p:embed/>
                </p:oleObj>
              </mc:Choice>
              <mc:Fallback>
                <p:oleObj name="Diapositiva de think-cell" r:id="rId17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2A54FA3A-EA2E-A0FB-5E83-9A15F2D818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96097A3-845D-4C79-9B10-713A18711759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7" name="Título 1">
            <a:extLst>
              <a:ext uri="{FF2B5EF4-FFF2-40B4-BE49-F238E27FC236}">
                <a16:creationId xmlns:a16="http://schemas.microsoft.com/office/drawing/2014/main" id="{D4BA0EB4-7E8F-8B14-BABD-C2B89FFA6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1150" y="207963"/>
            <a:ext cx="11002613" cy="642937"/>
          </a:xfrm>
        </p:spPr>
        <p:txBody>
          <a:bodyPr vert="horz"/>
          <a:lstStyle/>
          <a:p>
            <a:r>
              <a:rPr lang="es-ES_tradnl" sz="4000" dirty="0"/>
              <a:t>Wifi 6E </a:t>
            </a:r>
            <a:r>
              <a:rPr lang="es-ES_tradnl" sz="4000" dirty="0" err="1"/>
              <a:t>it’s</a:t>
            </a:r>
            <a:r>
              <a:rPr lang="es-ES_tradnl" sz="4000" dirty="0"/>
              <a:t> </a:t>
            </a:r>
            <a:r>
              <a:rPr lang="es-ES_tradnl" sz="4000" dirty="0" err="1"/>
              <a:t>about</a:t>
            </a:r>
            <a:r>
              <a:rPr lang="es-ES_tradnl" sz="4000" dirty="0"/>
              <a:t> wifi </a:t>
            </a:r>
            <a:r>
              <a:rPr lang="es-ES_tradnl" sz="4000" dirty="0" err="1"/>
              <a:t>perceived</a:t>
            </a:r>
            <a:r>
              <a:rPr lang="es-ES_tradnl" sz="4000" dirty="0"/>
              <a:t> </a:t>
            </a:r>
            <a:r>
              <a:rPr lang="es-ES_tradnl" sz="4000" dirty="0" err="1"/>
              <a:t>speed</a:t>
            </a:r>
            <a:r>
              <a:rPr lang="es-ES_tradnl" sz="4000" dirty="0"/>
              <a:t> (more </a:t>
            </a:r>
            <a:r>
              <a:rPr lang="es-ES_tradnl" sz="4000" dirty="0" err="1"/>
              <a:t>spectrum</a:t>
            </a:r>
            <a:r>
              <a:rPr lang="es-ES_tradnl" sz="4000" dirty="0"/>
              <a:t>)</a:t>
            </a:r>
          </a:p>
        </p:txBody>
      </p:sp>
      <p:sp>
        <p:nvSpPr>
          <p:cNvPr id="18" name="Rectángulo: esquinas redondeadas 17">
            <a:extLst>
              <a:ext uri="{FF2B5EF4-FFF2-40B4-BE49-F238E27FC236}">
                <a16:creationId xmlns:a16="http://schemas.microsoft.com/office/drawing/2014/main" id="{07E256AE-0651-A94D-EDC6-65515A6E5899}"/>
              </a:ext>
            </a:extLst>
          </p:cNvPr>
          <p:cNvSpPr/>
          <p:nvPr/>
        </p:nvSpPr>
        <p:spPr>
          <a:xfrm>
            <a:off x="11313762" y="26296"/>
            <a:ext cx="798115" cy="1189535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graphicFrame>
        <p:nvGraphicFramePr>
          <p:cNvPr id="82" name="Chart 3">
            <a:extLst>
              <a:ext uri="{FF2B5EF4-FFF2-40B4-BE49-F238E27FC236}">
                <a16:creationId xmlns:a16="http://schemas.microsoft.com/office/drawing/2014/main" id="{26D2B511-23C7-3881-FE5F-211D4374F465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6596169"/>
              </p:ext>
            </p:extLst>
          </p:nvPr>
        </p:nvGraphicFramePr>
        <p:xfrm>
          <a:off x="1730375" y="1978025"/>
          <a:ext cx="9318625" cy="37925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19" name="Rectángulo 18">
            <a:extLst>
              <a:ext uri="{FF2B5EF4-FFF2-40B4-BE49-F238E27FC236}">
                <a16:creationId xmlns:a16="http://schemas.microsoft.com/office/drawing/2014/main" id="{F756CEA1-4E2A-2401-CFDE-0C6D32ADA393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114425" y="2406650"/>
            <a:ext cx="58102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360E3E9-632D-483F-AD7D-E6B2DB252FA7}" type="datetime'''''2''''''''0'''''''' M''''''''''''''h''''''''''''''z'''''">
              <a:rPr lang="es-ES_tradnl" altLang="en-US" sz="1400" smtClean="0">
                <a:solidFill>
                  <a:schemeClr val="tx1"/>
                </a:solidFill>
              </a:rPr>
              <a:pPr/>
              <a:t>20 Mhz</a:t>
            </a:fld>
            <a:endParaRPr lang="es-ES_tradnl" sz="1400">
              <a:solidFill>
                <a:schemeClr val="tx1"/>
              </a:solidFill>
            </a:endParaRPr>
          </a:p>
        </p:txBody>
      </p:sp>
      <p:sp>
        <p:nvSpPr>
          <p:cNvPr id="60" name="Rectángulo 59">
            <a:extLst>
              <a:ext uri="{FF2B5EF4-FFF2-40B4-BE49-F238E27FC236}">
                <a16:creationId xmlns:a16="http://schemas.microsoft.com/office/drawing/2014/main" id="{7AEE1711-1D53-1D07-B12B-5E2480C66647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1838325" y="3994150"/>
            <a:ext cx="1492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EF1F3E1-75FE-4B0F-A70D-1EE0D9FB804F}" type="datetime'''''''''''''''''''''''''''''''''''''''''''''''0'''''''">
              <a:rPr lang="es-ES_tradnl" altLang="en-US" sz="1400" smtClean="0">
                <a:solidFill>
                  <a:schemeClr val="tx1"/>
                </a:solidFill>
                <a:effectLst/>
              </a:rPr>
              <a:pPr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s-ES_tradnl" sz="1400">
              <a:solidFill>
                <a:schemeClr val="tx1"/>
              </a:solidFill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7A46741E-22A4-1D70-E91C-8905B917B2F4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1114425" y="4221163"/>
            <a:ext cx="58102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9FFA2AA4-357C-4730-A2B4-F9ECF8830CA7}" type="datetime'''8''''''''''0'''''''''''''''''' ''M''h''z'''''''''''">
              <a:rPr lang="es-ES_tradnl" altLang="en-US" sz="1400" smtClean="0">
                <a:solidFill>
                  <a:schemeClr val="tx1"/>
                </a:solidFill>
              </a:rPr>
              <a:pPr/>
              <a:t>80 Mhz</a:t>
            </a:fld>
            <a:endParaRPr lang="es-ES_tradnl" sz="1400">
              <a:solidFill>
                <a:schemeClr val="tx1"/>
              </a:solidFill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18639757-5AA0-EEE8-D041-3FE749A6C06C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114425" y="3314700"/>
            <a:ext cx="58102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6D2974AA-8DD4-492D-BFB4-F349CD451136}" type="datetime'''''''''''''''''4''''''''''0'''''''''''' ''''''M''''h''z'''''">
              <a:rPr lang="es-ES_tradnl" altLang="en-US" sz="1400" smtClean="0">
                <a:solidFill>
                  <a:schemeClr val="tx1"/>
                </a:solidFill>
              </a:rPr>
              <a:pPr/>
              <a:t>40 Mhz</a:t>
            </a:fld>
            <a:endParaRPr lang="es-ES_tradnl" sz="1400">
              <a:solidFill>
                <a:schemeClr val="tx1"/>
              </a:solidFill>
            </a:endParaRPr>
          </a:p>
        </p:txBody>
      </p:sp>
      <p:sp>
        <p:nvSpPr>
          <p:cNvPr id="32" name="Rectángulo 31">
            <a:extLst>
              <a:ext uri="{FF2B5EF4-FFF2-40B4-BE49-F238E27FC236}">
                <a16:creationId xmlns:a16="http://schemas.microsoft.com/office/drawing/2014/main" id="{050FCB8B-6049-37D1-D98A-A998FE861D9C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1016000" y="5127625"/>
            <a:ext cx="6794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F6D03DA9-00EB-4F16-9079-D4C64F4B80DE}" type="datetime'''''''1''''''''6''0 ''M''h''''''z'''''''''">
              <a:rPr lang="es-ES_tradnl" altLang="en-US" sz="1400" smtClean="0">
                <a:solidFill>
                  <a:schemeClr val="tx1"/>
                </a:solidFill>
              </a:rPr>
              <a:pPr/>
              <a:t>160 Mhz</a:t>
            </a:fld>
            <a:endParaRPr lang="es-ES_tradnl" sz="1400">
              <a:solidFill>
                <a:schemeClr val="tx1"/>
              </a:solidFill>
            </a:endParaRPr>
          </a:p>
        </p:txBody>
      </p:sp>
      <p:sp>
        <p:nvSpPr>
          <p:cNvPr id="62" name="Rectángulo 61">
            <a:extLst>
              <a:ext uri="{FF2B5EF4-FFF2-40B4-BE49-F238E27FC236}">
                <a16:creationId xmlns:a16="http://schemas.microsoft.com/office/drawing/2014/main" id="{DCE853C3-380A-2176-1B89-5F3C4A67B8FB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1838325" y="4900613"/>
            <a:ext cx="149225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A048867-C1B2-442A-9DDA-73C091F7848E}" type="datetime'''''''''''''''''''0'''''''''''''''">
              <a:rPr lang="es-ES_tradnl" altLang="en-US" sz="1400" smtClean="0">
                <a:solidFill>
                  <a:schemeClr val="tx1"/>
                </a:solidFill>
              </a:rPr>
              <a:pPr/>
              <a:t>0</a:t>
            </a:fld>
            <a:endParaRPr lang="es-ES_tradnl" sz="1400">
              <a:solidFill>
                <a:schemeClr val="tx1"/>
              </a:solidFill>
            </a:endParaRPr>
          </a:p>
        </p:txBody>
      </p:sp>
      <p:sp>
        <p:nvSpPr>
          <p:cNvPr id="42" name="Rectángulo 41">
            <a:extLst>
              <a:ext uri="{FF2B5EF4-FFF2-40B4-BE49-F238E27FC236}">
                <a16:creationId xmlns:a16="http://schemas.microsoft.com/office/drawing/2014/main" id="{5247A512-1999-68E9-E032-1C64B1F8998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5868988" y="5903913"/>
            <a:ext cx="250825" cy="187325"/>
          </a:xfrm>
          <a:prstGeom prst="rect">
            <a:avLst/>
          </a:prstGeom>
          <a:solidFill>
            <a:srgbClr val="80808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47" name="Rectángulo 46">
            <a:extLst>
              <a:ext uri="{FF2B5EF4-FFF2-40B4-BE49-F238E27FC236}">
                <a16:creationId xmlns:a16="http://schemas.microsoft.com/office/drawing/2014/main" id="{4EFB1B6F-DB7F-FDCB-41DC-3534E04A0CFE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6696075" y="5903913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38" name="Rectángulo 37">
            <a:extLst>
              <a:ext uri="{FF2B5EF4-FFF2-40B4-BE49-F238E27FC236}">
                <a16:creationId xmlns:a16="http://schemas.microsoft.com/office/drawing/2014/main" id="{1A29077D-F129-22C0-FA88-215FBADB2338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4814888" y="5903913"/>
            <a:ext cx="250825" cy="187325"/>
          </a:xfrm>
          <a:prstGeom prst="rect">
            <a:avLst/>
          </a:prstGeom>
          <a:solidFill>
            <a:srgbClr val="C0C0C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35" name="Rectángulo 34">
            <a:extLst>
              <a:ext uri="{FF2B5EF4-FFF2-40B4-BE49-F238E27FC236}">
                <a16:creationId xmlns:a16="http://schemas.microsoft.com/office/drawing/2014/main" id="{CC2A07CE-58E2-D048-A8F2-93A02096A498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5116513" y="5899150"/>
            <a:ext cx="65087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887AB25E-63B9-496A-928D-7D400CCB474B}" type="datetime'''2''''''''''''''.''''''''''4'''' ''''''''''''''''GHz'''''">
              <a:rPr lang="es-ES_tradnl" altLang="en-US" sz="1400" smtClean="0">
                <a:solidFill>
                  <a:schemeClr val="tx1"/>
                </a:solidFill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2.4 GHz</a:t>
            </a:fld>
            <a:endParaRPr lang="es-ES_tradnl" sz="1400">
              <a:solidFill>
                <a:schemeClr val="tx1"/>
              </a:solidFill>
            </a:endParaRPr>
          </a:p>
        </p:txBody>
      </p:sp>
      <p:sp>
        <p:nvSpPr>
          <p:cNvPr id="39" name="Rectángulo 38">
            <a:extLst>
              <a:ext uri="{FF2B5EF4-FFF2-40B4-BE49-F238E27FC236}">
                <a16:creationId xmlns:a16="http://schemas.microsoft.com/office/drawing/2014/main" id="{11F7EBD7-A703-0E33-F22B-BB1CE3FEACE5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6170613" y="5899150"/>
            <a:ext cx="4238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59D76BD6-A3E2-424F-A58F-4E06393A1B9A}" type="datetime'''''''5''''''''''Gh''''z'''''''''''''''">
              <a:rPr lang="es-ES_tradnl" altLang="en-US" sz="1400" smtClean="0">
                <a:solidFill>
                  <a:schemeClr val="tx1"/>
                </a:solidFill>
              </a:rPr>
              <a:pPr/>
              <a:t>5Ghz</a:t>
            </a:fld>
            <a:endParaRPr lang="es-ES_tradnl" sz="1400">
              <a:solidFill>
                <a:schemeClr val="tx1"/>
              </a:solidFill>
            </a:endParaRPr>
          </a:p>
        </p:txBody>
      </p:sp>
      <p:sp>
        <p:nvSpPr>
          <p:cNvPr id="44" name="Rectángulo 43">
            <a:extLst>
              <a:ext uri="{FF2B5EF4-FFF2-40B4-BE49-F238E27FC236}">
                <a16:creationId xmlns:a16="http://schemas.microsoft.com/office/drawing/2014/main" id="{19CB00DD-B749-0332-6B44-8E2019F4A564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6997700" y="5899150"/>
            <a:ext cx="4238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60199455-686E-40A4-B093-44207AEB480A}" type="datetime'''''''''''''''''''6''''''''''''''G''''''''''h''''''''''''z'">
              <a:rPr lang="es-ES_tradnl" altLang="en-US" sz="1400" smtClean="0">
                <a:solidFill>
                  <a:schemeClr val="tx1"/>
                </a:solidFill>
              </a:rPr>
              <a:pPr/>
              <a:t>6Ghz</a:t>
            </a:fld>
            <a:endParaRPr lang="es-ES_tradnl" sz="1400">
              <a:solidFill>
                <a:schemeClr val="tx1"/>
              </a:solidFill>
            </a:endParaRPr>
          </a:p>
        </p:txBody>
      </p:sp>
      <p:sp>
        <p:nvSpPr>
          <p:cNvPr id="84" name="CuadroTexto 83">
            <a:extLst>
              <a:ext uri="{FF2B5EF4-FFF2-40B4-BE49-F238E27FC236}">
                <a16:creationId xmlns:a16="http://schemas.microsoft.com/office/drawing/2014/main" id="{5B6C356B-45D5-7DA7-62D9-C0FB356C9C67}"/>
              </a:ext>
            </a:extLst>
          </p:cNvPr>
          <p:cNvSpPr txBox="1"/>
          <p:nvPr/>
        </p:nvSpPr>
        <p:spPr>
          <a:xfrm>
            <a:off x="4455567" y="1546286"/>
            <a:ext cx="3280865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_tradnl" sz="1400" b="1" u="sng" dirty="0"/>
              <a:t># </a:t>
            </a:r>
            <a:r>
              <a:rPr lang="es-ES_tradnl" sz="1400" b="1" u="sng" dirty="0" err="1"/>
              <a:t>channels</a:t>
            </a:r>
            <a:r>
              <a:rPr lang="es-ES_tradnl" sz="1400" b="1" u="sng" dirty="0"/>
              <a:t> per band &amp; per </a:t>
            </a:r>
            <a:r>
              <a:rPr lang="es-ES_tradnl" sz="1400" b="1" u="sng" dirty="0" err="1"/>
              <a:t>bandwidht</a:t>
            </a:r>
            <a:endParaRPr lang="es-ES_tradnl" sz="1400" b="1" u="sng" dirty="0"/>
          </a:p>
        </p:txBody>
      </p:sp>
    </p:spTree>
    <p:extLst>
      <p:ext uri="{BB962C8B-B14F-4D97-AF65-F5344CB8AC3E}">
        <p14:creationId xmlns:p14="http://schemas.microsoft.com/office/powerpoint/2010/main" val="27665891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BEC0D7C4-6A04-E9EC-24BE-E6D08DF53A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1988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21" imgH="423" progId="TCLayout.ActiveDocument.1">
                  <p:embed/>
                </p:oleObj>
              </mc:Choice>
              <mc:Fallback>
                <p:oleObj name="Diapositiva de think-cell" r:id="rId3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ángulo: esquinas redondeadas 16">
            <a:extLst>
              <a:ext uri="{FF2B5EF4-FFF2-40B4-BE49-F238E27FC236}">
                <a16:creationId xmlns:a16="http://schemas.microsoft.com/office/drawing/2014/main" id="{89C421F0-8E9E-9010-B134-C7099CE75A3D}"/>
              </a:ext>
            </a:extLst>
          </p:cNvPr>
          <p:cNvSpPr/>
          <p:nvPr/>
        </p:nvSpPr>
        <p:spPr>
          <a:xfrm>
            <a:off x="754252" y="1301689"/>
            <a:ext cx="4964623" cy="4629211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6" name="Rectángulo: esquinas redondeadas 15">
            <a:extLst>
              <a:ext uri="{FF2B5EF4-FFF2-40B4-BE49-F238E27FC236}">
                <a16:creationId xmlns:a16="http://schemas.microsoft.com/office/drawing/2014/main" id="{49EDADC2-0AAC-167C-3F1D-CFC1CBDE98B0}"/>
              </a:ext>
            </a:extLst>
          </p:cNvPr>
          <p:cNvSpPr/>
          <p:nvPr/>
        </p:nvSpPr>
        <p:spPr>
          <a:xfrm>
            <a:off x="1082299" y="1795173"/>
            <a:ext cx="4063138" cy="3536243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5" name="Rectángulo: esquinas redondeadas 14">
            <a:extLst>
              <a:ext uri="{FF2B5EF4-FFF2-40B4-BE49-F238E27FC236}">
                <a16:creationId xmlns:a16="http://schemas.microsoft.com/office/drawing/2014/main" id="{715E0DD3-E2C6-A6BF-0E16-3DBD71FBF4E8}"/>
              </a:ext>
            </a:extLst>
          </p:cNvPr>
          <p:cNvSpPr/>
          <p:nvPr/>
        </p:nvSpPr>
        <p:spPr>
          <a:xfrm>
            <a:off x="1348353" y="2169763"/>
            <a:ext cx="2898183" cy="2665708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7448158-419F-D602-97F2-A67B2ADE75F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s-ES_tradnl" sz="4000" dirty="0"/>
              <a:t>Wifi 7 </a:t>
            </a:r>
            <a:r>
              <a:rPr lang="es-ES_tradnl" sz="4000" dirty="0" err="1"/>
              <a:t>it’s</a:t>
            </a:r>
            <a:r>
              <a:rPr lang="es-ES_tradnl" sz="4000" dirty="0"/>
              <a:t> </a:t>
            </a:r>
            <a:r>
              <a:rPr lang="es-ES_tradnl" sz="4000" dirty="0" err="1"/>
              <a:t>about</a:t>
            </a:r>
            <a:r>
              <a:rPr lang="es-ES_tradnl" sz="4000" dirty="0"/>
              <a:t> </a:t>
            </a:r>
            <a:r>
              <a:rPr lang="es-ES_tradnl" sz="4000" dirty="0" err="1"/>
              <a:t>better</a:t>
            </a:r>
            <a:r>
              <a:rPr lang="es-ES_tradnl" sz="4000" dirty="0"/>
              <a:t> performance</a:t>
            </a: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8101412F-CE9E-F50D-8975-983247A58B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96097A3-845D-4C79-9B10-713A18711759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6" name="Subtítulo 5">
            <a:extLst>
              <a:ext uri="{FF2B5EF4-FFF2-40B4-BE49-F238E27FC236}">
                <a16:creationId xmlns:a16="http://schemas.microsoft.com/office/drawing/2014/main" id="{65A4FE51-1048-7685-1D51-0FCD98FDE5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85088" y="955555"/>
            <a:ext cx="2229850" cy="173191"/>
          </a:xfrm>
        </p:spPr>
        <p:txBody>
          <a:bodyPr/>
          <a:lstStyle/>
          <a:p>
            <a:r>
              <a:rPr lang="es-ES_tradnl" b="1" u="sng" dirty="0" err="1">
                <a:solidFill>
                  <a:schemeClr val="tx1"/>
                </a:solidFill>
              </a:rPr>
              <a:t>Multilink</a:t>
            </a:r>
            <a:r>
              <a:rPr lang="es-ES_tradnl" b="1" u="sng" dirty="0">
                <a:solidFill>
                  <a:schemeClr val="tx1"/>
                </a:solidFill>
              </a:rPr>
              <a:t> concept</a:t>
            </a:r>
          </a:p>
        </p:txBody>
      </p:sp>
      <p:pic>
        <p:nvPicPr>
          <p:cNvPr id="14" name="Gráfico 13" descr="Enrutador inalámbrico con relleno sólido">
            <a:extLst>
              <a:ext uri="{FF2B5EF4-FFF2-40B4-BE49-F238E27FC236}">
                <a16:creationId xmlns:a16="http://schemas.microsoft.com/office/drawing/2014/main" id="{D10234A6-9091-490D-4E33-89780788140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879170" y="3066081"/>
            <a:ext cx="1769390" cy="1769390"/>
          </a:xfrm>
          <a:prstGeom prst="rect">
            <a:avLst/>
          </a:prstGeom>
        </p:spPr>
      </p:pic>
      <p:pic>
        <p:nvPicPr>
          <p:cNvPr id="19" name="Gráfico 18" descr="Smart Phone">
            <a:extLst>
              <a:ext uri="{FF2B5EF4-FFF2-40B4-BE49-F238E27FC236}">
                <a16:creationId xmlns:a16="http://schemas.microsoft.com/office/drawing/2014/main" id="{3EA5172D-91BF-0C7C-ACB9-94D1BD5D33B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81594" y="1496784"/>
            <a:ext cx="1428474" cy="1428474"/>
          </a:xfrm>
          <a:prstGeom prst="rect">
            <a:avLst/>
          </a:prstGeom>
        </p:spPr>
      </p:pic>
      <p:pic>
        <p:nvPicPr>
          <p:cNvPr id="20" name="Gráfico 19" descr="Smart Phone">
            <a:extLst>
              <a:ext uri="{FF2B5EF4-FFF2-40B4-BE49-F238E27FC236}">
                <a16:creationId xmlns:a16="http://schemas.microsoft.com/office/drawing/2014/main" id="{554D1F61-28A7-FC94-4CEB-FD14E3D453C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415173" y="3196553"/>
            <a:ext cx="1428474" cy="1428474"/>
          </a:xfrm>
          <a:prstGeom prst="rect">
            <a:avLst/>
          </a:prstGeom>
        </p:spPr>
      </p:pic>
      <p:pic>
        <p:nvPicPr>
          <p:cNvPr id="21" name="Gráfico 20" descr="Smart Phone">
            <a:extLst>
              <a:ext uri="{FF2B5EF4-FFF2-40B4-BE49-F238E27FC236}">
                <a16:creationId xmlns:a16="http://schemas.microsoft.com/office/drawing/2014/main" id="{61FD06C5-462A-7873-E3A1-F102EF0AB47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418330" y="4896322"/>
            <a:ext cx="1428474" cy="1428474"/>
          </a:xfrm>
          <a:prstGeom prst="rect">
            <a:avLst/>
          </a:prstGeom>
        </p:spPr>
      </p:pic>
      <p:sp>
        <p:nvSpPr>
          <p:cNvPr id="22" name="CuadroTexto 21">
            <a:extLst>
              <a:ext uri="{FF2B5EF4-FFF2-40B4-BE49-F238E27FC236}">
                <a16:creationId xmlns:a16="http://schemas.microsoft.com/office/drawing/2014/main" id="{CE1E01ED-B747-EFD4-7ADB-6E4DD7939279}"/>
              </a:ext>
            </a:extLst>
          </p:cNvPr>
          <p:cNvSpPr txBox="1"/>
          <p:nvPr/>
        </p:nvSpPr>
        <p:spPr>
          <a:xfrm>
            <a:off x="1627323" y="2509455"/>
            <a:ext cx="914400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_tradnl" sz="1600" b="1" dirty="0"/>
              <a:t>2,4 </a:t>
            </a:r>
            <a:r>
              <a:rPr lang="es-ES_tradnl" sz="1600" b="1" dirty="0" err="1"/>
              <a:t>Ghz</a:t>
            </a:r>
            <a:endParaRPr lang="es-ES_tradnl" sz="1600" b="1" dirty="0"/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C52BD8E4-2E5B-5DFB-96AA-B62D6FCBE25D}"/>
              </a:ext>
            </a:extLst>
          </p:cNvPr>
          <p:cNvSpPr txBox="1"/>
          <p:nvPr/>
        </p:nvSpPr>
        <p:spPr>
          <a:xfrm>
            <a:off x="1627323" y="1844212"/>
            <a:ext cx="914400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_tradnl" sz="1600" b="1" dirty="0"/>
              <a:t>5 </a:t>
            </a:r>
            <a:r>
              <a:rPr lang="es-ES_tradnl" sz="1600" b="1" dirty="0" err="1"/>
              <a:t>Ghz</a:t>
            </a:r>
            <a:endParaRPr lang="es-ES_tradnl" sz="1600" b="1" dirty="0"/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id="{D4CECB60-35FE-093B-4791-2FC4C18E8188}"/>
              </a:ext>
            </a:extLst>
          </p:cNvPr>
          <p:cNvSpPr txBox="1"/>
          <p:nvPr/>
        </p:nvSpPr>
        <p:spPr>
          <a:xfrm>
            <a:off x="1627323" y="1410696"/>
            <a:ext cx="914400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_tradnl" sz="1600" b="1" dirty="0"/>
              <a:t>6 </a:t>
            </a:r>
            <a:r>
              <a:rPr lang="es-ES_tradnl" sz="1600" b="1" dirty="0" err="1"/>
              <a:t>Ghz</a:t>
            </a:r>
            <a:endParaRPr lang="es-ES_tradnl" sz="1600" b="1" dirty="0"/>
          </a:p>
        </p:txBody>
      </p:sp>
      <p:cxnSp>
        <p:nvCxnSpPr>
          <p:cNvPr id="26" name="Conector recto 25">
            <a:extLst>
              <a:ext uri="{FF2B5EF4-FFF2-40B4-BE49-F238E27FC236}">
                <a16:creationId xmlns:a16="http://schemas.microsoft.com/office/drawing/2014/main" id="{ED389EDF-3FF4-DDF6-E43C-846AD23378EC}"/>
              </a:ext>
            </a:extLst>
          </p:cNvPr>
          <p:cNvCxnSpPr>
            <a:cxnSpLocks/>
          </p:cNvCxnSpPr>
          <p:nvPr/>
        </p:nvCxnSpPr>
        <p:spPr>
          <a:xfrm flipV="1">
            <a:off x="5718875" y="2165868"/>
            <a:ext cx="3696298" cy="589808"/>
          </a:xfrm>
          <a:prstGeom prst="line">
            <a:avLst/>
          </a:prstGeom>
          <a:ln w="57150">
            <a:solidFill>
              <a:schemeClr val="accent5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ctor recto 27">
            <a:extLst>
              <a:ext uri="{FF2B5EF4-FFF2-40B4-BE49-F238E27FC236}">
                <a16:creationId xmlns:a16="http://schemas.microsoft.com/office/drawing/2014/main" id="{11CAC8E1-3628-C2F1-47EE-0CA3503EA295}"/>
              </a:ext>
            </a:extLst>
          </p:cNvPr>
          <p:cNvCxnSpPr>
            <a:stCxn id="16" idx="3"/>
            <a:endCxn id="20" idx="1"/>
          </p:cNvCxnSpPr>
          <p:nvPr/>
        </p:nvCxnSpPr>
        <p:spPr>
          <a:xfrm>
            <a:off x="5145437" y="3563295"/>
            <a:ext cx="4269736" cy="347495"/>
          </a:xfrm>
          <a:prstGeom prst="line">
            <a:avLst/>
          </a:prstGeom>
          <a:ln w="57150">
            <a:solidFill>
              <a:schemeClr val="accent4">
                <a:lumMod val="20000"/>
                <a:lumOff val="8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ector recto 30">
            <a:extLst>
              <a:ext uri="{FF2B5EF4-FFF2-40B4-BE49-F238E27FC236}">
                <a16:creationId xmlns:a16="http://schemas.microsoft.com/office/drawing/2014/main" id="{7A6C3108-371D-B40C-BF57-2B78D81DDB14}"/>
              </a:ext>
            </a:extLst>
          </p:cNvPr>
          <p:cNvCxnSpPr>
            <a:stCxn id="15" idx="3"/>
            <a:endCxn id="21" idx="1"/>
          </p:cNvCxnSpPr>
          <p:nvPr/>
        </p:nvCxnSpPr>
        <p:spPr>
          <a:xfrm>
            <a:off x="4246536" y="3502617"/>
            <a:ext cx="5171794" cy="2107942"/>
          </a:xfrm>
          <a:prstGeom prst="line">
            <a:avLst/>
          </a:prstGeom>
          <a:ln w="571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uadroTexto 33">
            <a:extLst>
              <a:ext uri="{FF2B5EF4-FFF2-40B4-BE49-F238E27FC236}">
                <a16:creationId xmlns:a16="http://schemas.microsoft.com/office/drawing/2014/main" id="{559EA02C-65A0-ED55-D45A-E393BA47D0EF}"/>
              </a:ext>
            </a:extLst>
          </p:cNvPr>
          <p:cNvSpPr txBox="1"/>
          <p:nvPr/>
        </p:nvSpPr>
        <p:spPr>
          <a:xfrm rot="20940370">
            <a:off x="6823105" y="2089668"/>
            <a:ext cx="914400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_tradnl" sz="1600" b="1" dirty="0">
                <a:solidFill>
                  <a:schemeClr val="accent5">
                    <a:lumMod val="40000"/>
                    <a:lumOff val="60000"/>
                  </a:schemeClr>
                </a:solidFill>
              </a:rPr>
              <a:t>6 </a:t>
            </a:r>
            <a:r>
              <a:rPr lang="es-ES_tradnl" sz="1600" b="1" dirty="0" err="1">
                <a:solidFill>
                  <a:schemeClr val="accent5">
                    <a:lumMod val="40000"/>
                    <a:lumOff val="60000"/>
                  </a:schemeClr>
                </a:solidFill>
              </a:rPr>
              <a:t>Ghz</a:t>
            </a:r>
            <a:endParaRPr lang="es-ES_tradnl" sz="1600" b="1" dirty="0">
              <a:solidFill>
                <a:schemeClr val="accent5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5" name="CuadroTexto 34">
            <a:extLst>
              <a:ext uri="{FF2B5EF4-FFF2-40B4-BE49-F238E27FC236}">
                <a16:creationId xmlns:a16="http://schemas.microsoft.com/office/drawing/2014/main" id="{80B39040-7DE0-09AE-E745-525E7CB1F3BA}"/>
              </a:ext>
            </a:extLst>
          </p:cNvPr>
          <p:cNvSpPr txBox="1"/>
          <p:nvPr/>
        </p:nvSpPr>
        <p:spPr>
          <a:xfrm rot="464324">
            <a:off x="6846853" y="3359051"/>
            <a:ext cx="914400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_tradnl" sz="1600" b="1" dirty="0">
                <a:solidFill>
                  <a:schemeClr val="accent4">
                    <a:lumMod val="20000"/>
                    <a:lumOff val="80000"/>
                  </a:schemeClr>
                </a:solidFill>
              </a:rPr>
              <a:t>5 </a:t>
            </a:r>
            <a:r>
              <a:rPr lang="es-ES_tradnl" sz="1600" b="1" dirty="0" err="1">
                <a:solidFill>
                  <a:schemeClr val="accent4">
                    <a:lumMod val="20000"/>
                    <a:lumOff val="80000"/>
                  </a:schemeClr>
                </a:solidFill>
              </a:rPr>
              <a:t>Ghz</a:t>
            </a:r>
            <a:endParaRPr lang="es-ES_tradnl" sz="1600" b="1" dirty="0">
              <a:solidFill>
                <a:schemeClr val="accent4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38" name="CuadroTexto 37">
            <a:extLst>
              <a:ext uri="{FF2B5EF4-FFF2-40B4-BE49-F238E27FC236}">
                <a16:creationId xmlns:a16="http://schemas.microsoft.com/office/drawing/2014/main" id="{98EC45D4-8AEA-E446-9A10-54C2AF5BF36D}"/>
              </a:ext>
            </a:extLst>
          </p:cNvPr>
          <p:cNvSpPr txBox="1"/>
          <p:nvPr/>
        </p:nvSpPr>
        <p:spPr>
          <a:xfrm rot="1383500">
            <a:off x="6640933" y="4252920"/>
            <a:ext cx="914400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_tradnl" sz="1600" b="1">
                <a:solidFill>
                  <a:schemeClr val="accent6"/>
                </a:solidFill>
              </a:rPr>
              <a:t>2,4 </a:t>
            </a:r>
            <a:r>
              <a:rPr lang="es-ES_tradnl" sz="1600" b="1" dirty="0" err="1">
                <a:solidFill>
                  <a:schemeClr val="accent6"/>
                </a:solidFill>
              </a:rPr>
              <a:t>Ghz</a:t>
            </a:r>
            <a:endParaRPr lang="es-ES_tradnl" sz="1600" b="1" dirty="0">
              <a:solidFill>
                <a:schemeClr val="accent6"/>
              </a:solidFill>
            </a:endParaRPr>
          </a:p>
        </p:txBody>
      </p:sp>
      <p:sp>
        <p:nvSpPr>
          <p:cNvPr id="27" name="Rectángulo: esquinas redondeadas 26">
            <a:extLst>
              <a:ext uri="{FF2B5EF4-FFF2-40B4-BE49-F238E27FC236}">
                <a16:creationId xmlns:a16="http://schemas.microsoft.com/office/drawing/2014/main" id="{ABF33856-9728-0BE7-1C2C-76DD436AA654}"/>
              </a:ext>
            </a:extLst>
          </p:cNvPr>
          <p:cNvSpPr/>
          <p:nvPr/>
        </p:nvSpPr>
        <p:spPr>
          <a:xfrm>
            <a:off x="11313762" y="26296"/>
            <a:ext cx="798115" cy="1189535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8070878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398C6D40-A7A0-5910-8BE1-FC1FEDB2E4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0491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21" imgH="423" progId="TCLayout.ActiveDocument.1">
                  <p:embed/>
                </p:oleObj>
              </mc:Choice>
              <mc:Fallback>
                <p:oleObj name="Diapositiva de think-cell" r:id="rId4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A4027FB1-29E5-273B-62F7-86758A9DE97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1872" y="207732"/>
            <a:ext cx="11026687" cy="643168"/>
          </a:xfrm>
        </p:spPr>
        <p:txBody>
          <a:bodyPr vert="horz"/>
          <a:lstStyle/>
          <a:p>
            <a:r>
              <a:rPr lang="es-ES_tradnl" sz="4000" dirty="0"/>
              <a:t>Wifi can </a:t>
            </a:r>
            <a:r>
              <a:rPr lang="es-ES_tradnl" sz="4000" dirty="0" err="1"/>
              <a:t>add</a:t>
            </a:r>
            <a:r>
              <a:rPr lang="es-ES_tradnl" sz="4000" dirty="0"/>
              <a:t> extra data </a:t>
            </a:r>
            <a:r>
              <a:rPr lang="es-ES_tradnl" sz="4000" dirty="0" err="1"/>
              <a:t>layers</a:t>
            </a:r>
            <a:r>
              <a:rPr lang="es-ES_tradnl" sz="4000" dirty="0"/>
              <a:t> </a:t>
            </a:r>
            <a:r>
              <a:rPr lang="es-ES_tradnl" sz="4000" dirty="0" err="1"/>
              <a:t>to</a:t>
            </a:r>
            <a:r>
              <a:rPr lang="es-ES_tradnl" sz="4000" dirty="0"/>
              <a:t> </a:t>
            </a:r>
            <a:r>
              <a:rPr lang="es-ES_tradnl" sz="4000" dirty="0" err="1"/>
              <a:t>existing</a:t>
            </a:r>
            <a:r>
              <a:rPr lang="es-ES_tradnl" sz="4000" dirty="0"/>
              <a:t> </a:t>
            </a:r>
            <a:r>
              <a:rPr lang="es-ES_tradnl" sz="4000" dirty="0" err="1"/>
              <a:t>models</a:t>
            </a:r>
            <a:endParaRPr lang="es-ES_tradnl" sz="4000" dirty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ACC2A66-2DB6-F019-3CE4-F3B209ADDC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96097A3-845D-4C79-9B10-713A18711759}" type="slidenum">
              <a:rPr lang="en-US" smtClean="0"/>
              <a:pPr/>
              <a:t>9</a:t>
            </a:fld>
            <a:endParaRPr lang="en-US"/>
          </a:p>
        </p:txBody>
      </p:sp>
      <p:pic>
        <p:nvPicPr>
          <p:cNvPr id="11" name="Imagen 10" descr="Imagen que contiene Diagrama&#10;&#10;Descripción generada automáticamente">
            <a:extLst>
              <a:ext uri="{FF2B5EF4-FFF2-40B4-BE49-F238E27FC236}">
                <a16:creationId xmlns:a16="http://schemas.microsoft.com/office/drawing/2014/main" id="{73A77083-04DF-073F-450A-4A173D834BA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260" t="15000" r="9095" b="13519"/>
          <a:stretch/>
        </p:blipFill>
        <p:spPr>
          <a:xfrm>
            <a:off x="605534" y="1956727"/>
            <a:ext cx="2728912" cy="3730358"/>
          </a:xfrm>
          <a:prstGeom prst="rect">
            <a:avLst/>
          </a:prstGeom>
        </p:spPr>
      </p:pic>
      <p:sp>
        <p:nvSpPr>
          <p:cNvPr id="12" name="Rectángulo 11">
            <a:extLst>
              <a:ext uri="{FF2B5EF4-FFF2-40B4-BE49-F238E27FC236}">
                <a16:creationId xmlns:a16="http://schemas.microsoft.com/office/drawing/2014/main" id="{D27BC664-E521-DB29-AA62-319729616C46}"/>
              </a:ext>
            </a:extLst>
          </p:cNvPr>
          <p:cNvSpPr/>
          <p:nvPr/>
        </p:nvSpPr>
        <p:spPr>
          <a:xfrm rot="19867386">
            <a:off x="4237001" y="3168711"/>
            <a:ext cx="771525" cy="1385888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3" name="Diagrama de flujo: conector 12">
            <a:extLst>
              <a:ext uri="{FF2B5EF4-FFF2-40B4-BE49-F238E27FC236}">
                <a16:creationId xmlns:a16="http://schemas.microsoft.com/office/drawing/2014/main" id="{B76F00DF-A7DE-6621-AD0B-267859C5E5B3}"/>
              </a:ext>
            </a:extLst>
          </p:cNvPr>
          <p:cNvSpPr/>
          <p:nvPr/>
        </p:nvSpPr>
        <p:spPr>
          <a:xfrm>
            <a:off x="4155304" y="3266390"/>
            <a:ext cx="566330" cy="447808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_tradnl" sz="1200" dirty="0"/>
              <a:t>AP</a:t>
            </a:r>
          </a:p>
        </p:txBody>
      </p:sp>
      <p:sp>
        <p:nvSpPr>
          <p:cNvPr id="14" name="Globo: línea con barra de énfasis 13">
            <a:extLst>
              <a:ext uri="{FF2B5EF4-FFF2-40B4-BE49-F238E27FC236}">
                <a16:creationId xmlns:a16="http://schemas.microsoft.com/office/drawing/2014/main" id="{2B5667B6-1848-9CBF-077B-F96F5AC156E5}"/>
              </a:ext>
            </a:extLst>
          </p:cNvPr>
          <p:cNvSpPr/>
          <p:nvPr/>
        </p:nvSpPr>
        <p:spPr>
          <a:xfrm>
            <a:off x="3743326" y="2686050"/>
            <a:ext cx="1671638" cy="2271713"/>
          </a:xfrm>
          <a:prstGeom prst="accentCallout1">
            <a:avLst>
              <a:gd name="adj1" fmla="val 18750"/>
              <a:gd name="adj2" fmla="val -8333"/>
              <a:gd name="adj3" fmla="val 57154"/>
              <a:gd name="adj4" fmla="val -75434"/>
            </a:avLst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pic>
        <p:nvPicPr>
          <p:cNvPr id="15" name="Imagen 14" descr="Imagen que contiene Diagrama&#10;&#10;Descripción generada automáticamente">
            <a:extLst>
              <a:ext uri="{FF2B5EF4-FFF2-40B4-BE49-F238E27FC236}">
                <a16:creationId xmlns:a16="http://schemas.microsoft.com/office/drawing/2014/main" id="{0CDD141C-0C03-450B-05DA-BEE9EBBD7FFD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260" t="15000" r="9095" b="13519"/>
          <a:stretch/>
        </p:blipFill>
        <p:spPr>
          <a:xfrm>
            <a:off x="6896798" y="1996476"/>
            <a:ext cx="2728912" cy="3730358"/>
          </a:xfrm>
          <a:prstGeom prst="rect">
            <a:avLst/>
          </a:prstGeom>
        </p:spPr>
      </p:pic>
      <p:sp>
        <p:nvSpPr>
          <p:cNvPr id="16" name="Diagrama de flujo: conector 15">
            <a:extLst>
              <a:ext uri="{FF2B5EF4-FFF2-40B4-BE49-F238E27FC236}">
                <a16:creationId xmlns:a16="http://schemas.microsoft.com/office/drawing/2014/main" id="{A1081257-B379-3BB5-E712-3D052464B8A6}"/>
              </a:ext>
            </a:extLst>
          </p:cNvPr>
          <p:cNvSpPr/>
          <p:nvPr/>
        </p:nvSpPr>
        <p:spPr>
          <a:xfrm>
            <a:off x="8261254" y="4654734"/>
            <a:ext cx="272159" cy="298389"/>
          </a:xfrm>
          <a:prstGeom prst="flowChartConnector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200" dirty="0"/>
          </a:p>
        </p:txBody>
      </p:sp>
      <p:sp>
        <p:nvSpPr>
          <p:cNvPr id="17" name="Diagrama de flujo: conector 16">
            <a:extLst>
              <a:ext uri="{FF2B5EF4-FFF2-40B4-BE49-F238E27FC236}">
                <a16:creationId xmlns:a16="http://schemas.microsoft.com/office/drawing/2014/main" id="{E377544A-0BE2-823C-60F3-31D7546C3528}"/>
              </a:ext>
            </a:extLst>
          </p:cNvPr>
          <p:cNvSpPr/>
          <p:nvPr/>
        </p:nvSpPr>
        <p:spPr>
          <a:xfrm>
            <a:off x="9300176" y="3311453"/>
            <a:ext cx="272159" cy="298389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200" dirty="0"/>
          </a:p>
        </p:txBody>
      </p:sp>
      <p:sp>
        <p:nvSpPr>
          <p:cNvPr id="18" name="Diagrama de flujo: conector 17">
            <a:extLst>
              <a:ext uri="{FF2B5EF4-FFF2-40B4-BE49-F238E27FC236}">
                <a16:creationId xmlns:a16="http://schemas.microsoft.com/office/drawing/2014/main" id="{19F17E82-86BA-BB93-5797-ECBD81A338A1}"/>
              </a:ext>
            </a:extLst>
          </p:cNvPr>
          <p:cNvSpPr/>
          <p:nvPr/>
        </p:nvSpPr>
        <p:spPr>
          <a:xfrm>
            <a:off x="8857556" y="3712460"/>
            <a:ext cx="272159" cy="298389"/>
          </a:xfrm>
          <a:prstGeom prst="flowChartConnector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200" dirty="0"/>
          </a:p>
        </p:txBody>
      </p:sp>
      <p:sp>
        <p:nvSpPr>
          <p:cNvPr id="19" name="Diagrama de flujo: conector 18">
            <a:extLst>
              <a:ext uri="{FF2B5EF4-FFF2-40B4-BE49-F238E27FC236}">
                <a16:creationId xmlns:a16="http://schemas.microsoft.com/office/drawing/2014/main" id="{D2D3541C-0AAA-3FEF-9C9D-F898C2FE23B9}"/>
              </a:ext>
            </a:extLst>
          </p:cNvPr>
          <p:cNvSpPr/>
          <p:nvPr/>
        </p:nvSpPr>
        <p:spPr>
          <a:xfrm>
            <a:off x="9013732" y="4207760"/>
            <a:ext cx="272159" cy="298389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200" dirty="0"/>
          </a:p>
        </p:txBody>
      </p:sp>
      <p:sp>
        <p:nvSpPr>
          <p:cNvPr id="20" name="Diagrama de flujo: conector 19">
            <a:extLst>
              <a:ext uri="{FF2B5EF4-FFF2-40B4-BE49-F238E27FC236}">
                <a16:creationId xmlns:a16="http://schemas.microsoft.com/office/drawing/2014/main" id="{54D71655-42E7-46D4-74EB-E6EEC440C5A9}"/>
              </a:ext>
            </a:extLst>
          </p:cNvPr>
          <p:cNvSpPr/>
          <p:nvPr/>
        </p:nvSpPr>
        <p:spPr>
          <a:xfrm>
            <a:off x="7605018" y="3771162"/>
            <a:ext cx="272159" cy="298389"/>
          </a:xfrm>
          <a:prstGeom prst="flowChartConnector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200" dirty="0"/>
          </a:p>
        </p:txBody>
      </p:sp>
      <p:sp>
        <p:nvSpPr>
          <p:cNvPr id="21" name="Diagrama de flujo: conector 20">
            <a:extLst>
              <a:ext uri="{FF2B5EF4-FFF2-40B4-BE49-F238E27FC236}">
                <a16:creationId xmlns:a16="http://schemas.microsoft.com/office/drawing/2014/main" id="{56B2FC67-82D4-AE12-9A3E-826133813FDB}"/>
              </a:ext>
            </a:extLst>
          </p:cNvPr>
          <p:cNvSpPr/>
          <p:nvPr/>
        </p:nvSpPr>
        <p:spPr>
          <a:xfrm>
            <a:off x="7468938" y="4542149"/>
            <a:ext cx="272159" cy="298389"/>
          </a:xfrm>
          <a:prstGeom prst="flowChartConnector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200" dirty="0"/>
          </a:p>
        </p:txBody>
      </p:sp>
      <p:sp>
        <p:nvSpPr>
          <p:cNvPr id="22" name="Diagrama de flujo: conector 21">
            <a:extLst>
              <a:ext uri="{FF2B5EF4-FFF2-40B4-BE49-F238E27FC236}">
                <a16:creationId xmlns:a16="http://schemas.microsoft.com/office/drawing/2014/main" id="{8BDF97C4-8B9A-0F2D-FD5E-31914CAEF40C}"/>
              </a:ext>
            </a:extLst>
          </p:cNvPr>
          <p:cNvSpPr/>
          <p:nvPr/>
        </p:nvSpPr>
        <p:spPr>
          <a:xfrm>
            <a:off x="9965242" y="3603837"/>
            <a:ext cx="272159" cy="298389"/>
          </a:xfrm>
          <a:prstGeom prst="flowChartConnector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200" dirty="0"/>
          </a:p>
        </p:txBody>
      </p:sp>
      <p:sp>
        <p:nvSpPr>
          <p:cNvPr id="23" name="Diagrama de flujo: conector 22">
            <a:extLst>
              <a:ext uri="{FF2B5EF4-FFF2-40B4-BE49-F238E27FC236}">
                <a16:creationId xmlns:a16="http://schemas.microsoft.com/office/drawing/2014/main" id="{90BCA752-9FEB-F609-F383-EBC6872F3205}"/>
              </a:ext>
            </a:extLst>
          </p:cNvPr>
          <p:cNvSpPr/>
          <p:nvPr/>
        </p:nvSpPr>
        <p:spPr>
          <a:xfrm>
            <a:off x="9965242" y="4207759"/>
            <a:ext cx="272159" cy="298389"/>
          </a:xfrm>
          <a:prstGeom prst="flowChartConnector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200" dirty="0"/>
          </a:p>
        </p:txBody>
      </p:sp>
      <p:sp>
        <p:nvSpPr>
          <p:cNvPr id="24" name="Diagrama de flujo: conector 23">
            <a:extLst>
              <a:ext uri="{FF2B5EF4-FFF2-40B4-BE49-F238E27FC236}">
                <a16:creationId xmlns:a16="http://schemas.microsoft.com/office/drawing/2014/main" id="{6175FACC-1C82-DB62-EA3D-267FB9041E24}"/>
              </a:ext>
            </a:extLst>
          </p:cNvPr>
          <p:cNvSpPr/>
          <p:nvPr/>
        </p:nvSpPr>
        <p:spPr>
          <a:xfrm>
            <a:off x="9965241" y="4840538"/>
            <a:ext cx="272159" cy="298389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200" dirty="0"/>
          </a:p>
        </p:txBody>
      </p:sp>
      <p:sp>
        <p:nvSpPr>
          <p:cNvPr id="25" name="Diagrama de flujo: conector 24">
            <a:extLst>
              <a:ext uri="{FF2B5EF4-FFF2-40B4-BE49-F238E27FC236}">
                <a16:creationId xmlns:a16="http://schemas.microsoft.com/office/drawing/2014/main" id="{FD9D8E28-98BA-70C5-6CBD-043847C13A42}"/>
              </a:ext>
            </a:extLst>
          </p:cNvPr>
          <p:cNvSpPr/>
          <p:nvPr/>
        </p:nvSpPr>
        <p:spPr>
          <a:xfrm>
            <a:off x="8705157" y="2705274"/>
            <a:ext cx="272159" cy="298389"/>
          </a:xfrm>
          <a:prstGeom prst="flowChartConnector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200" dirty="0"/>
          </a:p>
        </p:txBody>
      </p:sp>
      <p:sp>
        <p:nvSpPr>
          <p:cNvPr id="26" name="Diagrama de flujo: conector 25">
            <a:extLst>
              <a:ext uri="{FF2B5EF4-FFF2-40B4-BE49-F238E27FC236}">
                <a16:creationId xmlns:a16="http://schemas.microsoft.com/office/drawing/2014/main" id="{F8DB857C-466B-3FB2-6D47-0BC2BAAD0FCF}"/>
              </a:ext>
            </a:extLst>
          </p:cNvPr>
          <p:cNvSpPr/>
          <p:nvPr/>
        </p:nvSpPr>
        <p:spPr>
          <a:xfrm>
            <a:off x="7502279" y="2509230"/>
            <a:ext cx="272159" cy="298389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200" dirty="0"/>
          </a:p>
        </p:txBody>
      </p:sp>
      <p:sp>
        <p:nvSpPr>
          <p:cNvPr id="27" name="Diagrama de flujo: conector 26">
            <a:extLst>
              <a:ext uri="{FF2B5EF4-FFF2-40B4-BE49-F238E27FC236}">
                <a16:creationId xmlns:a16="http://schemas.microsoft.com/office/drawing/2014/main" id="{59C8706C-14FC-127E-1BA8-AE61850A09E6}"/>
              </a:ext>
            </a:extLst>
          </p:cNvPr>
          <p:cNvSpPr/>
          <p:nvPr/>
        </p:nvSpPr>
        <p:spPr>
          <a:xfrm>
            <a:off x="8585397" y="3931611"/>
            <a:ext cx="272159" cy="298389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200" dirty="0"/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D2CAC805-193E-51A3-D51A-B5BDCF4BF012}"/>
              </a:ext>
            </a:extLst>
          </p:cNvPr>
          <p:cNvSpPr txBox="1"/>
          <p:nvPr/>
        </p:nvSpPr>
        <p:spPr>
          <a:xfrm>
            <a:off x="1594019" y="1545976"/>
            <a:ext cx="3280865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_tradnl" sz="1400" b="1" u="sng" dirty="0"/>
              <a:t>AP </a:t>
            </a:r>
            <a:r>
              <a:rPr lang="es-ES_tradnl" sz="1400" b="1" u="sng" dirty="0" err="1"/>
              <a:t>location</a:t>
            </a:r>
            <a:r>
              <a:rPr lang="es-ES_tradnl" sz="1400" b="1" u="sng" dirty="0"/>
              <a:t> </a:t>
            </a:r>
            <a:r>
              <a:rPr lang="es-ES_tradnl" sz="1400" b="1" u="sng" dirty="0" err="1"/>
              <a:t>defined</a:t>
            </a:r>
            <a:r>
              <a:rPr lang="es-ES_tradnl" sz="1400" b="1" u="sng" dirty="0"/>
              <a:t> at sales </a:t>
            </a:r>
            <a:r>
              <a:rPr lang="es-ES_tradnl" sz="1400" b="1" u="sng" dirty="0" err="1"/>
              <a:t>moment</a:t>
            </a:r>
            <a:endParaRPr lang="es-ES_tradnl" sz="1400" b="1" u="sng" dirty="0"/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E6687EEF-8877-C1FD-A0F0-3D5653C84E3E}"/>
              </a:ext>
            </a:extLst>
          </p:cNvPr>
          <p:cNvSpPr txBox="1"/>
          <p:nvPr/>
        </p:nvSpPr>
        <p:spPr>
          <a:xfrm>
            <a:off x="7795822" y="1487130"/>
            <a:ext cx="2482711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_tradnl" sz="1400" b="1" u="sng" dirty="0" err="1"/>
              <a:t>Household</a:t>
            </a:r>
            <a:r>
              <a:rPr lang="es-ES_tradnl" sz="1400" b="1" u="sng" dirty="0"/>
              <a:t> data </a:t>
            </a:r>
            <a:r>
              <a:rPr lang="es-ES_tradnl" sz="1400" b="1" u="sng" dirty="0" err="1"/>
              <a:t>enrichment</a:t>
            </a:r>
            <a:endParaRPr lang="es-ES_tradnl" sz="1400" b="1" u="sng" dirty="0"/>
          </a:p>
        </p:txBody>
      </p:sp>
      <p:sp>
        <p:nvSpPr>
          <p:cNvPr id="31" name="Rectángulo 11">
            <a:extLst>
              <a:ext uri="{FF2B5EF4-FFF2-40B4-BE49-F238E27FC236}">
                <a16:creationId xmlns:a16="http://schemas.microsoft.com/office/drawing/2014/main" id="{3A879D71-9297-7D71-D036-4AC36D130C60}"/>
              </a:ext>
            </a:extLst>
          </p:cNvPr>
          <p:cNvSpPr/>
          <p:nvPr/>
        </p:nvSpPr>
        <p:spPr>
          <a:xfrm>
            <a:off x="311873" y="1339789"/>
            <a:ext cx="5604546" cy="4961702"/>
          </a:xfrm>
          <a:prstGeom prst="roundRect">
            <a:avLst>
              <a:gd name="adj" fmla="val 3668"/>
            </a:avLst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Rectángulo 11">
            <a:extLst>
              <a:ext uri="{FF2B5EF4-FFF2-40B4-BE49-F238E27FC236}">
                <a16:creationId xmlns:a16="http://schemas.microsoft.com/office/drawing/2014/main" id="{DDEB3DED-2698-FEFC-BC1B-A87D87F1E8A2}"/>
              </a:ext>
            </a:extLst>
          </p:cNvPr>
          <p:cNvSpPr/>
          <p:nvPr/>
        </p:nvSpPr>
        <p:spPr>
          <a:xfrm>
            <a:off x="6091237" y="1302512"/>
            <a:ext cx="5604546" cy="4961702"/>
          </a:xfrm>
          <a:prstGeom prst="roundRect">
            <a:avLst>
              <a:gd name="adj" fmla="val 3668"/>
            </a:avLst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CuadroTexto 32">
            <a:extLst>
              <a:ext uri="{FF2B5EF4-FFF2-40B4-BE49-F238E27FC236}">
                <a16:creationId xmlns:a16="http://schemas.microsoft.com/office/drawing/2014/main" id="{04D2B22E-A7F4-BD81-4388-91D47F22939B}"/>
              </a:ext>
            </a:extLst>
          </p:cNvPr>
          <p:cNvSpPr txBox="1"/>
          <p:nvPr/>
        </p:nvSpPr>
        <p:spPr>
          <a:xfrm>
            <a:off x="3542986" y="5231838"/>
            <a:ext cx="2238817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s-ES_tradnl" sz="1200" dirty="0"/>
              <a:t>AP </a:t>
            </a:r>
            <a:r>
              <a:rPr lang="es-ES_tradnl" sz="1200" dirty="0" err="1"/>
              <a:t>located</a:t>
            </a:r>
            <a:r>
              <a:rPr lang="es-ES_tradnl" sz="1200" dirty="0"/>
              <a:t> in </a:t>
            </a:r>
            <a:r>
              <a:rPr lang="es-ES_tradnl" sz="1200" dirty="0" err="1"/>
              <a:t>the</a:t>
            </a:r>
            <a:r>
              <a:rPr lang="es-ES_tradnl" sz="1200" dirty="0"/>
              <a:t> </a:t>
            </a:r>
            <a:r>
              <a:rPr lang="es-ES_tradnl" sz="1200" dirty="0" err="1"/>
              <a:t>middle</a:t>
            </a:r>
            <a:r>
              <a:rPr lang="es-ES_tradnl" sz="1200" dirty="0"/>
              <a:t> </a:t>
            </a:r>
            <a:r>
              <a:rPr lang="es-ES_tradnl" sz="1200" dirty="0" err="1"/>
              <a:t>point</a:t>
            </a:r>
            <a:endParaRPr lang="es-ES_tradnl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_tradnl" sz="1200" dirty="0"/>
              <a:t>2 AP </a:t>
            </a:r>
            <a:r>
              <a:rPr lang="es-ES_tradnl" sz="1200" dirty="0" err="1"/>
              <a:t>required</a:t>
            </a:r>
            <a:r>
              <a:rPr lang="es-ES_tradnl" sz="1200" dirty="0"/>
              <a:t> </a:t>
            </a:r>
          </a:p>
        </p:txBody>
      </p:sp>
      <p:sp>
        <p:nvSpPr>
          <p:cNvPr id="34" name="Diagrama de flujo: conector 33">
            <a:extLst>
              <a:ext uri="{FF2B5EF4-FFF2-40B4-BE49-F238E27FC236}">
                <a16:creationId xmlns:a16="http://schemas.microsoft.com/office/drawing/2014/main" id="{6EE255AD-7426-9B58-7061-2F5572625107}"/>
              </a:ext>
            </a:extLst>
          </p:cNvPr>
          <p:cNvSpPr/>
          <p:nvPr/>
        </p:nvSpPr>
        <p:spPr>
          <a:xfrm>
            <a:off x="4434899" y="3830346"/>
            <a:ext cx="566330" cy="447808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_tradnl" sz="1200" dirty="0"/>
              <a:t>AP</a:t>
            </a:r>
          </a:p>
        </p:txBody>
      </p:sp>
      <p:sp>
        <p:nvSpPr>
          <p:cNvPr id="35" name="CuadroTexto 34">
            <a:extLst>
              <a:ext uri="{FF2B5EF4-FFF2-40B4-BE49-F238E27FC236}">
                <a16:creationId xmlns:a16="http://schemas.microsoft.com/office/drawing/2014/main" id="{53DEF86E-D7C0-E2DE-9427-BE17810589F7}"/>
              </a:ext>
            </a:extLst>
          </p:cNvPr>
          <p:cNvSpPr txBox="1"/>
          <p:nvPr/>
        </p:nvSpPr>
        <p:spPr>
          <a:xfrm>
            <a:off x="10406887" y="3678829"/>
            <a:ext cx="1119409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_tradnl" sz="1200" dirty="0" err="1"/>
              <a:t>Competitor</a:t>
            </a:r>
            <a:r>
              <a:rPr lang="es-ES_tradnl" sz="1200" dirty="0"/>
              <a:t> 1</a:t>
            </a:r>
          </a:p>
        </p:txBody>
      </p:sp>
      <p:sp>
        <p:nvSpPr>
          <p:cNvPr id="36" name="CuadroTexto 35">
            <a:extLst>
              <a:ext uri="{FF2B5EF4-FFF2-40B4-BE49-F238E27FC236}">
                <a16:creationId xmlns:a16="http://schemas.microsoft.com/office/drawing/2014/main" id="{EEB1AEAF-D487-450F-804B-A7C8585DFDE5}"/>
              </a:ext>
            </a:extLst>
          </p:cNvPr>
          <p:cNvSpPr txBox="1"/>
          <p:nvPr/>
        </p:nvSpPr>
        <p:spPr>
          <a:xfrm>
            <a:off x="10431271" y="4278154"/>
            <a:ext cx="1119409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_tradnl" sz="1200" dirty="0" err="1"/>
              <a:t>Competitor</a:t>
            </a:r>
            <a:r>
              <a:rPr lang="es-ES_tradnl" sz="1200" dirty="0"/>
              <a:t> 2</a:t>
            </a:r>
          </a:p>
        </p:txBody>
      </p:sp>
      <p:sp>
        <p:nvSpPr>
          <p:cNvPr id="37" name="CuadroTexto 36">
            <a:extLst>
              <a:ext uri="{FF2B5EF4-FFF2-40B4-BE49-F238E27FC236}">
                <a16:creationId xmlns:a16="http://schemas.microsoft.com/office/drawing/2014/main" id="{2AABD077-0569-D846-5795-45E7474619C4}"/>
              </a:ext>
            </a:extLst>
          </p:cNvPr>
          <p:cNvSpPr txBox="1"/>
          <p:nvPr/>
        </p:nvSpPr>
        <p:spPr>
          <a:xfrm>
            <a:off x="10435702" y="4914432"/>
            <a:ext cx="1119409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s-ES_tradnl" sz="1200" dirty="0"/>
              <a:t>ISP </a:t>
            </a:r>
            <a:r>
              <a:rPr lang="es-ES_tradnl" sz="1200" dirty="0" err="1"/>
              <a:t>services</a:t>
            </a:r>
            <a:endParaRPr lang="es-ES_tradnl" sz="1200" dirty="0"/>
          </a:p>
        </p:txBody>
      </p:sp>
      <p:sp>
        <p:nvSpPr>
          <p:cNvPr id="42" name="Rectángulo: esquinas redondeadas 41">
            <a:extLst>
              <a:ext uri="{FF2B5EF4-FFF2-40B4-BE49-F238E27FC236}">
                <a16:creationId xmlns:a16="http://schemas.microsoft.com/office/drawing/2014/main" id="{7D02E890-E1EB-A0C3-E74B-25DDE904F87A}"/>
              </a:ext>
            </a:extLst>
          </p:cNvPr>
          <p:cNvSpPr/>
          <p:nvPr/>
        </p:nvSpPr>
        <p:spPr>
          <a:xfrm>
            <a:off x="11313762" y="26296"/>
            <a:ext cx="798115" cy="1189535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8113495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8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m/%d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3.09509999999999996234E+00&quot;&gt;&lt;m_msothmcolidx val=&quot;0&quot;/&gt;&lt;m_rgb r=&quot;EA&quot; g=&quot;5B&quot; b=&quot;0C&quot;/&gt;&lt;/elem&gt;&lt;elem m_fUsage=&quot;1.00000000000000000000E+00&quot;&gt;&lt;m_msothmcolidx val=&quot;0&quot;/&gt;&lt;m_rgb r=&quot;FF&quot; g=&quot;C0&quot; b=&quot;00&quot;/&gt;&lt;/elem&gt;&lt;/m_vecMRU&gt;&lt;/m_mruColor&gt;&lt;m_eweekdayFirstOfWeek val=&quot;7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R6ES1nD8TBYnOFDbIDP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8qeb4iIs8iq9XWVaBWVO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t29jcF0aAjAplskgu4B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RxpJMmmJQ8C_8zZcNRD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YX_fPH6Soi8E4kU_4Lu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iVL0.20NVJIioXpG3Vc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GCvcatu_k5SEy27N2wM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AOmpWv_Esd7xsFtY5mc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Wc7aTkcXC8OxZUrfimw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y4OXVgA2s45Z_07frS_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h57rTfleIQAXM.clluI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L7dz4yPFw.LmtcMA.e7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UlaOo0Tb6Wqir8xxY_C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Ly7pkWzVjccf.q3u0eA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mfPwMbO33dveFcz2LdU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RGtkvPLt4ikHMcOYUDC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9rC5W80.AQKsyb71d42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LYO_LSaaIryHmq8tpbb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zxiGy5nwdPy_iWCiJUF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yKUuHH2wb3hBBl4DtdI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zkgH6OAsBB_Wl_PtRgki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DqqPMbmI913PuJFChwi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I6hqJW_OsxdlKYccXyd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nrkLN1CY4bM0z0kjW2a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WjF.9ta9r6sEIMM5F6P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IGzcvv9cnTSI7OcLLAw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7PZffcJ7N8hU7ZqgcLV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zA3vYwjYIMa8uvBmJr1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37Uk1xDFFvvRBV77ZYe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vj4RqCL0KCh1MRQYS9G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TnkXjQqzIe9oHZ0X1jx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sa0nzVwk62wdahEirAF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g9TQg6EIhtLOqQdlJGW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ulrdDyAuuBtmWSk3l4p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EaIc5WMGDlML2b7_tiB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yQ5k9zZ0LQsfkv1x92q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Kho5KBV3883bKJo_2nV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Jg_h3dEydBgeikppEOL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dArdZp4asqNG4FuIxB5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4npoDA7T7cq8PuUP.1T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mbtLHNR2qmNmTUPqEff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hLpRMkcp6zVbdOi21nL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xd.oYZbSSjDjWqSdzTK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KK1Rxq_Z70PuSUpeJIN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8jE.gNHfXiFVr04cyfB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k0s7T4JZeZvtdlX72A1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S_pnEfmQgfTkbF1Cvwt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UlaOo0Tb6Wqir8xxY_C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401a2p6re7KckJU.PL9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CoIIiYM4.FlzOV5qcn1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7BMD4bBbmz1_GS_1nYE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R6ES1nD8TBYnOFDbIDP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L7dz4yPFw.LmtcMA.e7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DqqPMbmI913PuJFChwi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ulrdDyAuuBtmWSk3l4p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JwxLD_gxyEuwAsNM0sS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8jE.gNHfXiFVr04cyfB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JwxLD_gxyEuwAsNM0sS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wT2ojcoV9iqlg3fTYn8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oXHJV7I9xqxLLuEjGRx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F8L1oK9NWCZLaxzO9MR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nDt0O3bDP2728hvAHS.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feEwb_jwUEYuo1EnK8D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CvdGOME4MXkN8wu8Mtt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vj4RqCL0KCh1MRQYS9G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vYRry_ov_MZYyE3Dlhw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sa0nzVwk62wdahEirAF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wT2ojcoV9iqlg3fTYn8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0RyaQbSRPU3BdGQVket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kQ139qEnt_hcGu3AMxu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C9TgilAuPvCcVziTlnx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b8CFqfSMeeWhvlLwaLg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5w5DMu7d6LQdfELm7Lk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7GBbAUescsSYPS9uFAY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0ZurL6rF8_UYSx8_osc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gy.B_aYf7nlz93m6AEs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CX8SSY3vmug.uEiNanE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8xVWafi837DfSmv1btx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oXHJV7I9xqxLLuEjGRx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hpmDq6bAo_kMSlLeNIo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9CGj0NnlgLz8cP67Tnh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UlaOo0Tb6Wqir8xxY_C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401a2p6re7KckJU.PL9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CoIIiYM4.FlzOV5qcn1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7BMD4bBbmz1_GS_1nYE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R6ES1nD8TBYnOFDbIDP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L7dz4yPFw.LmtcMA.e7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DqqPMbmI913PuJFChwi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F8L1oK9NWCZLaxzO9MRg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ulrdDyAuuBtmWSk3l4p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8jE.gNHfXiFVr04cyfB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JwxLD_gxyEuwAsNM0sS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wT2ojcoV9iqlg3fTYn8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oXHJV7I9xqxLLuEjGRx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F8L1oK9NWCZLaxzO9MR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nDt0O3bDP2728hvAHS.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feEwb_jwUEYuo1EnK8D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CvdGOME4MXkN8wu8Mtt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vj4RqCL0KCh1MRQYS9G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vYRry_ov_MZYyE3Dlhw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nDt0O3bDP2728hvAHS.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sa0nzVwk62wdahEirAF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0RyaQbSRPU3BdGQVket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kQ139qEnt_hcGu3AMxu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C9TgilAuPvCcVziTlnx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b8CFqfSMeeWhvlLwaLg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5w5DMu7d6LQdfELm7Lk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7GBbAUescsSYPS9uFA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0ZurL6rF8_UYSx8_oscg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gy.B_aYf7nlz93m6AEs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CX8SSY3vmug.uEiNanE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feEwb_jwUEYuo1EnK8D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8xVWafi837DfSmv1btx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hpmDq6bAo_kMSlLeNIo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9CGj0NnlgLz8cP67TnhQ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UlaOo0Tb6Wqir8xxY_Cw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401a2p6re7KckJU.PL9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CoIIiYM4.FlzOV5qcn1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7BMD4bBbmz1_GS_1nYE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R6ES1nD8TBYnOFDbIDP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L7dz4yPFw.LmtcMA.e7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DqqPMbmI913PuJFChwi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CvdGOME4MXkN8wu8Mttg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ulrdDyAuuBtmWSk3l4p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8jE.gNHfXiFVr04cyfB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JwxLD_gxyEuwAsNM0sSA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wT2ojcoV9iqlg3fTYn8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oXHJV7I9xqxLLuEjGRx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vj4RqCL0KCh1MRQYS9GA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F8L1oK9NWCZLaxzO9MR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nDt0O3bDP2728hvAHS.A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feEwb_jwUEYuo1EnK8Dw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CvdGOME4MXkN8wu8Mtt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vj4RqCL0KCh1MRQYS9G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vYRry_ov_MZYyE3DlhwQ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sa0nzVwk62wdahEirAFQ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0RyaQbSRPU3BdGQVket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kQ139qEnt_hcGu3AMxuQ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C9TgilAuPvCcVziTlnxQ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b8CFqfSMeeWhvlLwaLg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vYRry_ov_MZYyE3Dlhw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5w5DMu7d6LQdfELm7Lk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7GBbAUescsSYPS9uFAYA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0ZurL6rF8_UYSx8_osc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gy.B_aYf7nlz93m6AEsw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CX8SSY3vmug.uEiNanE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sa0nzVwk62wdahEirAF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8xVWafi837DfSmv1btxA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hpmDq6bAo_kMSlLeNIo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UlaOo0Tb6Wqir8xxY_Cw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I3JXs2HP0N0JOUt5PMF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_sFZLy84rBHYygHJNqgA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wB3hJNXSO18XLICieHFA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30eMMX9GEG87KN5ozbRQ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kO_rhO7HNHd1XC6bglgg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515pQhRb1d_UOGBsAYpA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oSy6Zl_nY3ToZJc3UOU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0RyaQbSRPU3BdGQVket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DeiAf1is_UZ6j8Y6GTkQ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.QVlv4rIloldxiOcN6Xvg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RJBViZwVXvHer_1p9UuA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hyjGDwahjgv_KfKAxrIw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7WV6TtJhJ2tPilcr.QHw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yj3IGJa8TO69ahkxxuzA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401a2p6re7KckJU.PL9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kQ139qEnt_hcGu3AMxu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C9TgilAuPvCcVziTlnx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b8CFqfSMeeWhvlLwaLg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5w5DMu7d6LQdfELm7Lk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7GBbAUescsSYPS9uFAY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0ZurL6rF8_UYSx8_osc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gy.B_aYf7nlz93m6AEs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CX8SSY3vmug.uEiNanE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8xVWafi837DfSmv1btx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hpmDq6bAo_kMSlLeNIo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CoIIiYM4.FlzOV5qcn1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kk_rZNWriyD1sAGwRMp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AFKBuxlvO.hotitMBFH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_ZMFwlzTNaDqbuMYjkV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U9q2.9x7UbbNU3GJ29w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2RM2TnpF2hNmt2cKMPU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9nZbqkfrOACfQqNBznZT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t0ONEhKnnyAgL6Gmgtc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7tuLMm03AVHozN5FMvT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7hrkaBZdGpjoQuGvjzC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9oXGN_pJrsrctrUFqsL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7BMD4bBbmz1_GS_1nYE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6144TMftoGfZzl2wkEa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LCtbjZ86GH.LppEh0mC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yycF7xOXpSqtxpaYNNv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GMRvJP78oTCEGu6ZssA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hSjIy0UpO5C16OELd8y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vj4RqCL0KCh1MRQYS9G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e..JPF9rlUC9pLwCLo3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sa0nzVwk62wdahEirAF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8dhaOMQpiB4riPcbkzS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YQeC32.9JCE3u7ucRFb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BvGppxbJaKmKg.P2RyOg"/>
</p:tagLst>
</file>

<file path=ppt/theme/theme1.xml><?xml version="1.0" encoding="utf-8"?>
<a:theme xmlns:a="http://schemas.openxmlformats.org/drawingml/2006/main" name="1_LLA Strategy Theme">
  <a:themeElements>
    <a:clrScheme name="Liberty Latin America Orange">
      <a:dk1>
        <a:srgbClr val="3E3838"/>
      </a:dk1>
      <a:lt1>
        <a:srgbClr val="FFFFFF"/>
      </a:lt1>
      <a:dk2>
        <a:srgbClr val="6F6B6C"/>
      </a:dk2>
      <a:lt2>
        <a:srgbClr val="FF4100"/>
      </a:lt2>
      <a:accent1>
        <a:srgbClr val="004F9F"/>
      </a:accent1>
      <a:accent2>
        <a:srgbClr val="831F82"/>
      </a:accent2>
      <a:accent3>
        <a:srgbClr val="C2000B"/>
      </a:accent3>
      <a:accent4>
        <a:srgbClr val="FD1A16"/>
      </a:accent4>
      <a:accent5>
        <a:srgbClr val="50A028"/>
      </a:accent5>
      <a:accent6>
        <a:srgbClr val="C0C0C0"/>
      </a:accent6>
      <a:hlink>
        <a:srgbClr val="FF4100"/>
      </a:hlink>
      <a:folHlink>
        <a:srgbClr val="6F6B6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wrap="square" lIns="0" tIns="0" rIns="0" bIns="0" rtlCol="0" anchor="t" anchorCtr="0">
        <a:spAutoFit/>
      </a:bodyPr>
      <a:lstStyle>
        <a:defPPr>
          <a:defRPr sz="2400" dirty="0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81F5FF45-86D8-4B8F-92FC-274655D18E5E}" vid="{76A69D2A-9879-4AFA-B2AF-7A333867E29A}"/>
    </a:ext>
  </a:extLst>
</a:theme>
</file>

<file path=ppt/theme/theme2.xml><?xml version="1.0" encoding="utf-8"?>
<a:theme xmlns:a="http://schemas.openxmlformats.org/drawingml/2006/main" name="2_LLA Strategy Theme">
  <a:themeElements>
    <a:clrScheme name="Liberty Latin America Orange">
      <a:dk1>
        <a:srgbClr val="3E3838"/>
      </a:dk1>
      <a:lt1>
        <a:srgbClr val="FFFFFF"/>
      </a:lt1>
      <a:dk2>
        <a:srgbClr val="6F6B6C"/>
      </a:dk2>
      <a:lt2>
        <a:srgbClr val="FF4100"/>
      </a:lt2>
      <a:accent1>
        <a:srgbClr val="004F9F"/>
      </a:accent1>
      <a:accent2>
        <a:srgbClr val="831F82"/>
      </a:accent2>
      <a:accent3>
        <a:srgbClr val="C2000B"/>
      </a:accent3>
      <a:accent4>
        <a:srgbClr val="FD1A16"/>
      </a:accent4>
      <a:accent5>
        <a:srgbClr val="50A028"/>
      </a:accent5>
      <a:accent6>
        <a:srgbClr val="C0C0C0"/>
      </a:accent6>
      <a:hlink>
        <a:srgbClr val="FF4100"/>
      </a:hlink>
      <a:folHlink>
        <a:srgbClr val="6F6B6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wrap="square" lIns="0" tIns="0" rIns="0" bIns="0" rtlCol="0" anchor="t" anchorCtr="0">
        <a:spAutoFit/>
      </a:bodyPr>
      <a:lstStyle>
        <a:defPPr>
          <a:defRPr sz="2400" dirty="0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81F5FF45-86D8-4B8F-92FC-274655D18E5E}" vid="{76A69D2A-9879-4AFA-B2AF-7A333867E29A}"/>
    </a:ext>
  </a:extLst>
</a:theme>
</file>

<file path=ppt/theme/theme3.xml><?xml version="1.0" encoding="utf-8"?>
<a:theme xmlns:a="http://schemas.openxmlformats.org/drawingml/2006/main" name="3_LLA Strategy Theme">
  <a:themeElements>
    <a:clrScheme name="Liberty Latin America Orange">
      <a:dk1>
        <a:srgbClr val="3E3838"/>
      </a:dk1>
      <a:lt1>
        <a:srgbClr val="FFFFFF"/>
      </a:lt1>
      <a:dk2>
        <a:srgbClr val="6F6B6C"/>
      </a:dk2>
      <a:lt2>
        <a:srgbClr val="FF4100"/>
      </a:lt2>
      <a:accent1>
        <a:srgbClr val="004F9F"/>
      </a:accent1>
      <a:accent2>
        <a:srgbClr val="831F82"/>
      </a:accent2>
      <a:accent3>
        <a:srgbClr val="C2000B"/>
      </a:accent3>
      <a:accent4>
        <a:srgbClr val="FD1A16"/>
      </a:accent4>
      <a:accent5>
        <a:srgbClr val="50A028"/>
      </a:accent5>
      <a:accent6>
        <a:srgbClr val="C0C0C0"/>
      </a:accent6>
      <a:hlink>
        <a:srgbClr val="FF4100"/>
      </a:hlink>
      <a:folHlink>
        <a:srgbClr val="6F6B6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wrap="square" lIns="0" tIns="0" rIns="0" bIns="0" rtlCol="0" anchor="t" anchorCtr="0">
        <a:spAutoFit/>
      </a:bodyPr>
      <a:lstStyle>
        <a:defPPr>
          <a:defRPr sz="2400" dirty="0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81F5FF45-86D8-4B8F-92FC-274655D18E5E}" vid="{76A69D2A-9879-4AFA-B2AF-7A333867E29A}"/>
    </a:ext>
  </a:extLst>
</a:theme>
</file>

<file path=ppt/theme/theme4.xml><?xml version="1.0" encoding="utf-8"?>
<a:theme xmlns:a="http://schemas.openxmlformats.org/drawingml/2006/main" name="4_LLA Strategy Theme">
  <a:themeElements>
    <a:clrScheme name="Liberty Latin America Orange">
      <a:dk1>
        <a:srgbClr val="3E3838"/>
      </a:dk1>
      <a:lt1>
        <a:srgbClr val="FFFFFF"/>
      </a:lt1>
      <a:dk2>
        <a:srgbClr val="6F6B6C"/>
      </a:dk2>
      <a:lt2>
        <a:srgbClr val="FF4100"/>
      </a:lt2>
      <a:accent1>
        <a:srgbClr val="004F9F"/>
      </a:accent1>
      <a:accent2>
        <a:srgbClr val="831F82"/>
      </a:accent2>
      <a:accent3>
        <a:srgbClr val="C2000B"/>
      </a:accent3>
      <a:accent4>
        <a:srgbClr val="FD1A16"/>
      </a:accent4>
      <a:accent5>
        <a:srgbClr val="50A028"/>
      </a:accent5>
      <a:accent6>
        <a:srgbClr val="C0C0C0"/>
      </a:accent6>
      <a:hlink>
        <a:srgbClr val="FF4100"/>
      </a:hlink>
      <a:folHlink>
        <a:srgbClr val="6F6B6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wrap="square" lIns="0" tIns="0" rIns="0" bIns="0" rtlCol="0" anchor="t" anchorCtr="0">
        <a:spAutoFit/>
      </a:bodyPr>
      <a:lstStyle>
        <a:defPPr>
          <a:defRPr sz="2400" dirty="0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81F5FF45-86D8-4B8F-92FC-274655D18E5E}" vid="{76A69D2A-9879-4AFA-B2AF-7A333867E29A}"/>
    </a:ext>
  </a:extLst>
</a:theme>
</file>

<file path=ppt/theme/theme5.xml><?xml version="1.0" encoding="utf-8"?>
<a:theme xmlns:a="http://schemas.openxmlformats.org/drawingml/2006/main" name="5_LLA Strategy Theme">
  <a:themeElements>
    <a:clrScheme name="Liberty Latin America Orange">
      <a:dk1>
        <a:srgbClr val="3E3838"/>
      </a:dk1>
      <a:lt1>
        <a:srgbClr val="FFFFFF"/>
      </a:lt1>
      <a:dk2>
        <a:srgbClr val="6F6B6C"/>
      </a:dk2>
      <a:lt2>
        <a:srgbClr val="FF4100"/>
      </a:lt2>
      <a:accent1>
        <a:srgbClr val="004F9F"/>
      </a:accent1>
      <a:accent2>
        <a:srgbClr val="831F82"/>
      </a:accent2>
      <a:accent3>
        <a:srgbClr val="C2000B"/>
      </a:accent3>
      <a:accent4>
        <a:srgbClr val="FD1A16"/>
      </a:accent4>
      <a:accent5>
        <a:srgbClr val="50A028"/>
      </a:accent5>
      <a:accent6>
        <a:srgbClr val="C0C0C0"/>
      </a:accent6>
      <a:hlink>
        <a:srgbClr val="FF4100"/>
      </a:hlink>
      <a:folHlink>
        <a:srgbClr val="6F6B6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wrap="square" lIns="0" tIns="0" rIns="0" bIns="0" rtlCol="0" anchor="t" anchorCtr="0">
        <a:spAutoFit/>
      </a:bodyPr>
      <a:lstStyle>
        <a:defPPr>
          <a:defRPr sz="2400" dirty="0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81F5FF45-86D8-4B8F-92FC-274655D18E5E}" vid="{76A69D2A-9879-4AFA-B2AF-7A333867E29A}"/>
    </a:ext>
  </a:extLst>
</a:theme>
</file>

<file path=ppt/theme/theme6.xml><?xml version="1.0" encoding="utf-8"?>
<a:theme xmlns:a="http://schemas.openxmlformats.org/drawingml/2006/main" name="6_LLA Strategy Theme">
  <a:themeElements>
    <a:clrScheme name="Liberty Latin America Orange">
      <a:dk1>
        <a:srgbClr val="3E3838"/>
      </a:dk1>
      <a:lt1>
        <a:srgbClr val="FFFFFF"/>
      </a:lt1>
      <a:dk2>
        <a:srgbClr val="6F6B6C"/>
      </a:dk2>
      <a:lt2>
        <a:srgbClr val="FF4100"/>
      </a:lt2>
      <a:accent1>
        <a:srgbClr val="004F9F"/>
      </a:accent1>
      <a:accent2>
        <a:srgbClr val="831F82"/>
      </a:accent2>
      <a:accent3>
        <a:srgbClr val="C2000B"/>
      </a:accent3>
      <a:accent4>
        <a:srgbClr val="FD1A16"/>
      </a:accent4>
      <a:accent5>
        <a:srgbClr val="50A028"/>
      </a:accent5>
      <a:accent6>
        <a:srgbClr val="C0C0C0"/>
      </a:accent6>
      <a:hlink>
        <a:srgbClr val="FF4100"/>
      </a:hlink>
      <a:folHlink>
        <a:srgbClr val="6F6B6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wrap="square" lIns="0" tIns="0" rIns="0" bIns="0" rtlCol="0" anchor="t" anchorCtr="0">
        <a:spAutoFit/>
      </a:bodyPr>
      <a:lstStyle>
        <a:defPPr>
          <a:defRPr sz="2400" dirty="0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81F5FF45-86D8-4B8F-92FC-274655D18E5E}" vid="{76A69D2A-9879-4AFA-B2AF-7A333867E29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Final xmlns="c31e574a-e2e6-4894-947e-7e3cc2a52be2">false</Final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C871466D561FFB4880FA8A615FE92C25" ma:contentTypeVersion="12" ma:contentTypeDescription="Crear nuevo documento." ma:contentTypeScope="" ma:versionID="225ac4d4e6569952f0f4e9f82fd2ed6e">
  <xsd:schema xmlns:xsd="http://www.w3.org/2001/XMLSchema" xmlns:xs="http://www.w3.org/2001/XMLSchema" xmlns:p="http://schemas.microsoft.com/office/2006/metadata/properties" xmlns:ns2="74623e1b-4122-4787-81c0-096c45006e55" xmlns:ns3="c31e574a-e2e6-4894-947e-7e3cc2a52be2" targetNamespace="http://schemas.microsoft.com/office/2006/metadata/properties" ma:root="true" ma:fieldsID="d6b20beec50cced63dcda4e454e9710e" ns2:_="" ns3:_="">
    <xsd:import namespace="74623e1b-4122-4787-81c0-096c45006e55"/>
    <xsd:import namespace="c31e574a-e2e6-4894-947e-7e3cc2a52be2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DateTaken" minOccurs="0"/>
                <xsd:element ref="ns3:MediaServiceLocation" minOccurs="0"/>
                <xsd:element ref="ns3:MediaServiceEventHashCode" minOccurs="0"/>
                <xsd:element ref="ns3:MediaServiceGenerationTime" minOccurs="0"/>
                <xsd:element ref="ns3:Final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4623e1b-4122-4787-81c0-096c45006e55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31e574a-e2e6-4894-947e-7e3cc2a52be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4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Final" ma:index="17" nillable="true" ma:displayName="Final" ma:default="0" ma:format="Dropdown" ma:internalName="Final">
      <xsd:simpleType>
        <xsd:restriction base="dms:Boolean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E500BA1-CE1A-4A28-A1F6-A6648FBA20E6}">
  <ds:schemaRefs>
    <ds:schemaRef ds:uri="http://schemas.microsoft.com/office/2006/metadata/properties"/>
    <ds:schemaRef ds:uri="74623e1b-4122-4787-81c0-096c45006e55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c31e574a-e2e6-4894-947e-7e3cc2a52be2"/>
    <ds:schemaRef ds:uri="http://purl.org/dc/elements/1.1/"/>
    <ds:schemaRef ds:uri="http://schemas.microsoft.com/office/infopath/2007/PartnerControl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A3ECE2E8-4E79-4C05-A23A-982E5A1DE231}">
  <ds:schemaRefs>
    <ds:schemaRef ds:uri="74623e1b-4122-4787-81c0-096c45006e55"/>
    <ds:schemaRef ds:uri="c31e574a-e2e6-4894-947e-7e3cc2a52be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5B8F8D9B-D2F5-4CDA-B381-85AF9EEDA03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LLA Strategy Template</Template>
  <TotalTime>8491</TotalTime>
  <Words>684</Words>
  <Application>Microsoft Office PowerPoint</Application>
  <PresentationFormat>Panorámica</PresentationFormat>
  <Paragraphs>108</Paragraphs>
  <Slides>12</Slides>
  <Notes>6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6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2</vt:i4>
      </vt:variant>
    </vt:vector>
  </HeadingPairs>
  <TitlesOfParts>
    <vt:vector size="24" baseType="lpstr">
      <vt:lpstr>Arial</vt:lpstr>
      <vt:lpstr>Arial MT Light</vt:lpstr>
      <vt:lpstr>Arial Nova Light</vt:lpstr>
      <vt:lpstr>Calibri</vt:lpstr>
      <vt:lpstr>Wingdings 2</vt:lpstr>
      <vt:lpstr>1_LLA Strategy Theme</vt:lpstr>
      <vt:lpstr>2_LLA Strategy Theme</vt:lpstr>
      <vt:lpstr>3_LLA Strategy Theme</vt:lpstr>
      <vt:lpstr>4_LLA Strategy Theme</vt:lpstr>
      <vt:lpstr>5_LLA Strategy Theme</vt:lpstr>
      <vt:lpstr>6_LLA Strategy Theme</vt:lpstr>
      <vt:lpstr>Diapositiva de think-cell</vt:lpstr>
      <vt:lpstr>Wi-Fi Forever</vt:lpstr>
      <vt:lpstr>Mi path towards wifi</vt:lpstr>
      <vt:lpstr>Why wifi matter?</vt:lpstr>
      <vt:lpstr>Wifi is a story with 2 sides</vt:lpstr>
      <vt:lpstr>They expect to be connected</vt:lpstr>
      <vt:lpstr>Wifi 6 it’s about efficiency</vt:lpstr>
      <vt:lpstr>Wifi 6E it’s about wifi perceived speed (more spectrum)</vt:lpstr>
      <vt:lpstr>Wifi 7 it’s about better performance</vt:lpstr>
      <vt:lpstr>Wifi can add extra data layers to existing models</vt:lpstr>
      <vt:lpstr>5G &amp; Wifi targeted for different use cases</vt:lpstr>
      <vt:lpstr>Some implications to telecom players*</vt:lpstr>
      <vt:lpstr>Final though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co-Project name (Template) PM:  Project Code:</dc:title>
  <dc:creator>Andres Larranaga</dc:creator>
  <cp:lastModifiedBy>Sergio Rodriguez</cp:lastModifiedBy>
  <cp:revision>318</cp:revision>
  <cp:lastPrinted>2020-02-24T13:09:18Z</cp:lastPrinted>
  <dcterms:created xsi:type="dcterms:W3CDTF">2018-12-18T20:37:41Z</dcterms:created>
  <dcterms:modified xsi:type="dcterms:W3CDTF">2022-07-17T14:53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871466D561FFB4880FA8A615FE92C25</vt:lpwstr>
  </property>
</Properties>
</file>